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  <p:sldMasterId id="2147483660" r:id="rId3"/>
    <p:sldMasterId id="2147483672" r:id="rId4"/>
  </p:sldMasterIdLst>
  <p:notesMasterIdLst>
    <p:notesMasterId r:id="rId6"/>
  </p:notesMasterIdLst>
  <p:sldIdLst>
    <p:sldId id="310" r:id="rId5"/>
    <p:sldId id="257" r:id="rId7"/>
    <p:sldId id="422" r:id="rId8"/>
    <p:sldId id="315" r:id="rId9"/>
    <p:sldId id="477" r:id="rId10"/>
    <p:sldId id="478" r:id="rId11"/>
    <p:sldId id="479" r:id="rId12"/>
    <p:sldId id="316" r:id="rId13"/>
    <p:sldId id="318" r:id="rId14"/>
    <p:sldId id="319" r:id="rId15"/>
    <p:sldId id="496" r:id="rId16"/>
    <p:sldId id="499" r:id="rId17"/>
    <p:sldId id="497" r:id="rId18"/>
    <p:sldId id="321" r:id="rId19"/>
    <p:sldId id="322" r:id="rId20"/>
    <p:sldId id="483" r:id="rId21"/>
    <p:sldId id="484" r:id="rId22"/>
    <p:sldId id="486" r:id="rId23"/>
    <p:sldId id="487" r:id="rId24"/>
    <p:sldId id="340" r:id="rId25"/>
    <p:sldId id="341" r:id="rId26"/>
    <p:sldId id="488" r:id="rId27"/>
    <p:sldId id="489" r:id="rId28"/>
    <p:sldId id="360" r:id="rId29"/>
    <p:sldId id="491" r:id="rId30"/>
    <p:sldId id="492" r:id="rId31"/>
    <p:sldId id="493" r:id="rId32"/>
    <p:sldId id="494" r:id="rId33"/>
    <p:sldId id="495" r:id="rId34"/>
    <p:sldId id="364" r:id="rId35"/>
    <p:sldId id="295" r:id="rId36"/>
    <p:sldId id="296" r:id="rId37"/>
    <p:sldId id="297" r:id="rId38"/>
  </p:sldIdLst>
  <p:sldSz cx="9144000" cy="6858000" type="screen4x3"/>
  <p:notesSz cx="6858000" cy="9144000"/>
  <p:defaultTextStyle>
    <a:defPPr>
      <a:defRPr lang="en-GB"/>
    </a:defPPr>
    <a:lvl1pPr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6" charset="0"/>
      <a:defRPr kern="1200">
        <a:solidFill>
          <a:schemeClr val="tx1"/>
        </a:solidFill>
        <a:latin typeface="Arial" panose="020B0604020202020204" pitchFamily="34" charset="0"/>
        <a:ea typeface="Calibri" panose="020F0502020204030204" charset="0"/>
        <a:cs typeface="Calibri" panose="020F0502020204030204" charset="0"/>
      </a:defRPr>
    </a:lvl1pPr>
    <a:lvl2pPr marL="742950" indent="-28575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6" charset="0"/>
      <a:defRPr kern="1200">
        <a:solidFill>
          <a:schemeClr val="tx1"/>
        </a:solidFill>
        <a:latin typeface="Arial" panose="020B0604020202020204" pitchFamily="34" charset="0"/>
        <a:ea typeface="Calibri" panose="020F0502020204030204" charset="0"/>
        <a:cs typeface="Calibri" panose="020F0502020204030204" charset="0"/>
      </a:defRPr>
    </a:lvl2pPr>
    <a:lvl3pPr marL="1143000" indent="-22860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6" charset="0"/>
      <a:defRPr kern="1200">
        <a:solidFill>
          <a:schemeClr val="tx1"/>
        </a:solidFill>
        <a:latin typeface="Arial" panose="020B0604020202020204" pitchFamily="34" charset="0"/>
        <a:ea typeface="Calibri" panose="020F0502020204030204" charset="0"/>
        <a:cs typeface="Calibri" panose="020F0502020204030204" charset="0"/>
      </a:defRPr>
    </a:lvl3pPr>
    <a:lvl4pPr marL="1600200" indent="-22860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6" charset="0"/>
      <a:defRPr kern="1200">
        <a:solidFill>
          <a:schemeClr val="tx1"/>
        </a:solidFill>
        <a:latin typeface="Arial" panose="020B0604020202020204" pitchFamily="34" charset="0"/>
        <a:ea typeface="Calibri" panose="020F0502020204030204" charset="0"/>
        <a:cs typeface="Calibri" panose="020F0502020204030204" charset="0"/>
      </a:defRPr>
    </a:lvl4pPr>
    <a:lvl5pPr marL="2057400" indent="-22860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6" charset="0"/>
      <a:defRPr kern="1200">
        <a:solidFill>
          <a:schemeClr val="tx1"/>
        </a:solidFill>
        <a:latin typeface="Arial" panose="020B0604020202020204" pitchFamily="34" charset="0"/>
        <a:ea typeface="Calibri" panose="020F0502020204030204" charset="0"/>
        <a:cs typeface="Calibri" panose="020F050202020403020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Calibri" panose="020F0502020204030204" charset="0"/>
        <a:cs typeface="Calibri" panose="020F050202020403020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Calibri" panose="020F0502020204030204" charset="0"/>
        <a:cs typeface="Calibri" panose="020F050202020403020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Calibri" panose="020F0502020204030204" charset="0"/>
        <a:cs typeface="Calibri" panose="020F050202020403020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Calibri" panose="020F0502020204030204" charset="0"/>
        <a:cs typeface="Calibri" panose="020F0502020204030204" charset="0"/>
      </a:defRPr>
    </a:lvl9pPr>
  </p:defaultTextStyle>
  <p:extLst>
    <p:ext uri="{505F2C04-C923-438B-8C0F-E0CD2BADF298}">
      <wppc:fontMiss xmlns:wppc="http://www.wps.cn/officeDocument/PresentationCustomData" type="true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91B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1" d="100"/>
          <a:sy n="111" d="100"/>
        </p:scale>
        <p:origin x="-1614" y="-78"/>
      </p:cViewPr>
      <p:guideLst>
        <p:guide orient="horz" pos="2117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22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8" Type="http://schemas.openxmlformats.org/officeDocument/2006/relationships/slide" Target="slides/slide3.xml"/><Relationship Id="rId7" Type="http://schemas.openxmlformats.org/officeDocument/2006/relationships/slide" Target="slides/slide2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41" Type="http://schemas.openxmlformats.org/officeDocument/2006/relationships/tableStyles" Target="tableStyles.xml"/><Relationship Id="rId40" Type="http://schemas.openxmlformats.org/officeDocument/2006/relationships/viewProps" Target="viewProps.xml"/><Relationship Id="rId4" Type="http://schemas.openxmlformats.org/officeDocument/2006/relationships/slideMaster" Target="slideMasters/slideMaster3.xml"/><Relationship Id="rId39" Type="http://schemas.openxmlformats.org/officeDocument/2006/relationships/presProps" Target="presProps.xml"/><Relationship Id="rId38" Type="http://schemas.openxmlformats.org/officeDocument/2006/relationships/slide" Target="slides/slide33.xml"/><Relationship Id="rId37" Type="http://schemas.openxmlformats.org/officeDocument/2006/relationships/slide" Target="slides/slide32.xml"/><Relationship Id="rId36" Type="http://schemas.openxmlformats.org/officeDocument/2006/relationships/slide" Target="slides/slide31.xml"/><Relationship Id="rId35" Type="http://schemas.openxmlformats.org/officeDocument/2006/relationships/slide" Target="slides/slide30.xml"/><Relationship Id="rId34" Type="http://schemas.openxmlformats.org/officeDocument/2006/relationships/slide" Target="slides/slide29.xml"/><Relationship Id="rId33" Type="http://schemas.openxmlformats.org/officeDocument/2006/relationships/slide" Target="slides/slide28.xml"/><Relationship Id="rId32" Type="http://schemas.openxmlformats.org/officeDocument/2006/relationships/slide" Target="slides/slide27.xml"/><Relationship Id="rId31" Type="http://schemas.openxmlformats.org/officeDocument/2006/relationships/slide" Target="slides/slide26.xml"/><Relationship Id="rId30" Type="http://schemas.openxmlformats.org/officeDocument/2006/relationships/slide" Target="slides/slide25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4.xml"/><Relationship Id="rId28" Type="http://schemas.openxmlformats.org/officeDocument/2006/relationships/slide" Target="slides/slide23.xml"/><Relationship Id="rId27" Type="http://schemas.openxmlformats.org/officeDocument/2006/relationships/slide" Target="slides/slide22.xml"/><Relationship Id="rId26" Type="http://schemas.openxmlformats.org/officeDocument/2006/relationships/slide" Target="slides/slide21.xml"/><Relationship Id="rId25" Type="http://schemas.openxmlformats.org/officeDocument/2006/relationships/slide" Target="slides/slide20.xml"/><Relationship Id="rId24" Type="http://schemas.openxmlformats.org/officeDocument/2006/relationships/slide" Target="slides/slide19.xml"/><Relationship Id="rId23" Type="http://schemas.openxmlformats.org/officeDocument/2006/relationships/slide" Target="slides/slide18.xml"/><Relationship Id="rId22" Type="http://schemas.openxmlformats.org/officeDocument/2006/relationships/slide" Target="slides/slide17.xml"/><Relationship Id="rId21" Type="http://schemas.openxmlformats.org/officeDocument/2006/relationships/slide" Target="slides/slide16.xml"/><Relationship Id="rId20" Type="http://schemas.openxmlformats.org/officeDocument/2006/relationships/slide" Target="slides/slide15.xml"/><Relationship Id="rId2" Type="http://schemas.openxmlformats.org/officeDocument/2006/relationships/theme" Target="theme/theme1.xml"/><Relationship Id="rId19" Type="http://schemas.openxmlformats.org/officeDocument/2006/relationships/slide" Target="slides/slide14.xml"/><Relationship Id="rId18" Type="http://schemas.openxmlformats.org/officeDocument/2006/relationships/slide" Target="slides/slide13.xml"/><Relationship Id="rId17" Type="http://schemas.openxmlformats.org/officeDocument/2006/relationships/slide" Target="slides/slide12.xml"/><Relationship Id="rId16" Type="http://schemas.openxmlformats.org/officeDocument/2006/relationships/slide" Target="slides/slide11.xml"/><Relationship Id="rId15" Type="http://schemas.openxmlformats.org/officeDocument/2006/relationships/slide" Target="slides/slide10.xml"/><Relationship Id="rId14" Type="http://schemas.openxmlformats.org/officeDocument/2006/relationships/slide" Target="slides/slide9.xml"/><Relationship Id="rId13" Type="http://schemas.openxmlformats.org/officeDocument/2006/relationships/slide" Target="slides/slide8.xml"/><Relationship Id="rId12" Type="http://schemas.openxmlformats.org/officeDocument/2006/relationships/slide" Target="slides/slide7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explosion val="0"/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elete val="1"/>
          </c:dLbls>
          <c:val>
            <c:numRef>
              <c:f>Лист1!$N$13:$N$17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ru-RU"/>
      </a:pPr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1"/>
          <p:cNvSpPr>
            <a:spLocks noGrp="1" noChangeArrowheads="1"/>
          </p:cNvSpPr>
          <p:nvPr>
            <p:ph type="sldImg"/>
          </p:nvPr>
        </p:nvSpPr>
        <p:spPr bwMode="auto">
          <a:xfrm>
            <a:off x="533400" y="763588"/>
            <a:ext cx="6702425" cy="3770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sp>
      <p:sp>
        <p:nvSpPr>
          <p:cNvPr id="5122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777875" y="4776788"/>
            <a:ext cx="6216650" cy="452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endParaRPr lang="ru-RU" altLang="ru-RU" noProof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hdr"/>
          </p:nvPr>
        </p:nvSpPr>
        <p:spPr bwMode="auto">
          <a:xfrm>
            <a:off x="0" y="0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 sz="1400" smtClean="0">
                <a:solidFill>
                  <a:srgbClr val="000000"/>
                </a:solidFill>
                <a:latin typeface="Times New Roman" panose="02020603050405020304" pitchFamily="16" charset="0"/>
                <a:ea typeface="DejaVu Sans" panose="020B0603030804020204" charset="0"/>
                <a:cs typeface="DejaVu Sans" panose="020B0603030804020204" charset="0"/>
              </a:defRPr>
            </a:lvl1pPr>
          </a:lstStyle>
          <a:p>
            <a:pPr>
              <a:defRPr/>
            </a:pPr>
            <a:endParaRPr lang="en-US" altLang="ru-RU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/>
          </p:nvPr>
        </p:nvSpPr>
        <p:spPr bwMode="auto">
          <a:xfrm>
            <a:off x="4398963" y="0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 algn="r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 sz="1400" smtClean="0">
                <a:solidFill>
                  <a:srgbClr val="000000"/>
                </a:solidFill>
                <a:latin typeface="Times New Roman" panose="02020603050405020304" pitchFamily="16" charset="0"/>
                <a:ea typeface="DejaVu Sans" panose="020B0603030804020204" charset="0"/>
                <a:cs typeface="DejaVu Sans" panose="020B0603030804020204" charset="0"/>
              </a:defRPr>
            </a:lvl1pPr>
          </a:lstStyle>
          <a:p>
            <a:pPr>
              <a:defRPr/>
            </a:pPr>
            <a:endParaRPr lang="en-US" altLang="ru-RU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0" y="9555163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lvl1pPr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 sz="1400" smtClean="0">
                <a:solidFill>
                  <a:srgbClr val="000000"/>
                </a:solidFill>
                <a:latin typeface="Times New Roman" panose="02020603050405020304" pitchFamily="16" charset="0"/>
                <a:ea typeface="DejaVu Sans" panose="020B0603030804020204" charset="0"/>
                <a:cs typeface="DejaVu Sans" panose="020B0603030804020204" charset="0"/>
              </a:defRPr>
            </a:lvl1pPr>
          </a:lstStyle>
          <a:p>
            <a:pPr>
              <a:defRPr/>
            </a:pPr>
            <a:endParaRPr lang="en-US" altLang="ru-RU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ldNum"/>
          </p:nvPr>
        </p:nvSpPr>
        <p:spPr bwMode="auto">
          <a:xfrm>
            <a:off x="4398963" y="9555163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lvl1pPr algn="r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 sz="1400" smtClean="0">
                <a:solidFill>
                  <a:srgbClr val="000000"/>
                </a:solidFill>
                <a:latin typeface="Times New Roman" panose="02020603050405020304" pitchFamily="16" charset="0"/>
                <a:ea typeface="DejaVu Sans" panose="020B0603030804020204" charset="0"/>
                <a:cs typeface="DejaVu Sans" panose="020B0603030804020204" charset="0"/>
              </a:defRPr>
            </a:lvl1pPr>
          </a:lstStyle>
          <a:p>
            <a:pPr>
              <a:defRPr/>
            </a:pPr>
            <a:fld id="{1F7BE884-9292-4AC1-858C-F2F3642CDD42}" type="slidenum">
              <a:rPr lang="en-US" altLang="ru-RU"/>
            </a:fld>
            <a:endParaRPr lang="en-US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6" charset="0"/>
      <a:defRPr sz="1200" kern="1200">
        <a:solidFill>
          <a:srgbClr val="000000"/>
        </a:solidFill>
        <a:latin typeface="Times New Roman" panose="02020603050405020304" pitchFamily="16" charset="0"/>
        <a:ea typeface="+mn-ea"/>
        <a:cs typeface="+mn-cs"/>
      </a:defRPr>
    </a:lvl1pPr>
    <a:lvl2pPr marL="742950" indent="-28575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6" charset="0"/>
      <a:defRPr sz="1200" kern="1200">
        <a:solidFill>
          <a:srgbClr val="000000"/>
        </a:solidFill>
        <a:latin typeface="Times New Roman" panose="02020603050405020304" pitchFamily="16" charset="0"/>
        <a:ea typeface="+mn-ea"/>
        <a:cs typeface="+mn-cs"/>
      </a:defRPr>
    </a:lvl2pPr>
    <a:lvl3pPr marL="11430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6" charset="0"/>
      <a:defRPr sz="1200" kern="1200">
        <a:solidFill>
          <a:srgbClr val="000000"/>
        </a:solidFill>
        <a:latin typeface="Times New Roman" panose="02020603050405020304" pitchFamily="16" charset="0"/>
        <a:ea typeface="+mn-ea"/>
        <a:cs typeface="+mn-cs"/>
      </a:defRPr>
    </a:lvl3pPr>
    <a:lvl4pPr marL="16002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6" charset="0"/>
      <a:defRPr sz="1200" kern="1200">
        <a:solidFill>
          <a:srgbClr val="000000"/>
        </a:solidFill>
        <a:latin typeface="Times New Roman" panose="02020603050405020304" pitchFamily="16" charset="0"/>
        <a:ea typeface="+mn-ea"/>
        <a:cs typeface="+mn-cs"/>
      </a:defRPr>
    </a:lvl4pPr>
    <a:lvl5pPr marL="20574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6" charset="0"/>
      <a:defRPr sz="1200" kern="1200">
        <a:solidFill>
          <a:srgbClr val="000000"/>
        </a:solidFill>
        <a:latin typeface="Times New Roman" panose="02020603050405020304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2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834F1D5-33B3-480A-A4E8-311841A67364}" type="datetime1">
              <a:rPr lang="ru-RU" smtClean="0"/>
            </a:fld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6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</a:extLst>
        </p:spPr>
        <p:txBody>
          <a:bodyPr/>
          <a:lstStyle>
            <a:lvl1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eaLnBrk="1"/>
            <a:fld id="{ED93E2F9-945C-4B09-B03E-A51A97200DC2}" type="slidenum">
              <a:rPr lang="en-US" altLang="ru-RU">
                <a:solidFill>
                  <a:srgbClr val="000000"/>
                </a:solidFill>
                <a:latin typeface="Times New Roman" panose="02020603050405020304" pitchFamily="16" charset="0"/>
                <a:ea typeface="DejaVu Sans" panose="020B0603030804020204" charset="0"/>
                <a:cs typeface="DejaVu Sans" panose="020B0603030804020204" charset="0"/>
              </a:rPr>
            </a:fld>
            <a:endParaRPr lang="en-US" altLang="ru-RU">
              <a:solidFill>
                <a:srgbClr val="000000"/>
              </a:solidFill>
              <a:latin typeface="Times New Roman" panose="02020603050405020304" pitchFamily="16" charset="0"/>
              <a:ea typeface="DejaVu Sans" panose="020B0603030804020204" charset="0"/>
              <a:cs typeface="DejaVu Sans" panose="020B0603030804020204" charset="0"/>
            </a:endParaRPr>
          </a:p>
        </p:txBody>
      </p:sp>
      <p:sp>
        <p:nvSpPr>
          <p:cNvPr id="98307" name="Rectangle 1"/>
          <p:cNvSpPr txBox="1">
            <a:spLocks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83970" name="Text Box 2"/>
          <p:cNvSpPr txBox="1"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/>
          <a:p>
            <a:pPr marL="215900" indent="-214630" eaLnBrk="1">
              <a:spcBef>
                <a:spcPct val="0"/>
              </a:spcBef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</a:tabLst>
              <a:defRPr/>
            </a:pPr>
            <a:r>
              <a:rPr lang="en-US" altLang="ru-RU" smtClean="0">
                <a:latin typeface="+mn-lt"/>
                <a:ea typeface="+mn-ea"/>
                <a:cs typeface="+mn-ea"/>
              </a:rPr>
              <a:t>	</a:t>
            </a:r>
            <a:endParaRPr lang="en-US" altLang="ru-RU" smtClean="0">
              <a:latin typeface="+mn-lt"/>
              <a:ea typeface="+mn-ea"/>
              <a:cs typeface="+mn-ea"/>
            </a:endParaRPr>
          </a:p>
        </p:txBody>
      </p:sp>
      <p:sp>
        <p:nvSpPr>
          <p:cNvPr id="98309" name="Text Box 3"/>
          <p:cNvSpPr txBox="1">
            <a:spLocks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655" defTabSz="914400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  <a:endParaRPr lang="ru-RU" dirty="0"/>
          </a:p>
          <a:p>
            <a:pPr indent="287655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1567232-3087-46B5-AC68-DAC877C618A8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6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</a:extLst>
        </p:spPr>
        <p:txBody>
          <a:bodyPr/>
          <a:lstStyle>
            <a:lvl1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eaLnBrk="1"/>
            <a:fld id="{394CAA6A-9DD4-46A2-A40F-073AD2D5F66F}" type="slidenum">
              <a:rPr lang="en-US" altLang="ru-RU">
                <a:solidFill>
                  <a:srgbClr val="000000"/>
                </a:solidFill>
                <a:latin typeface="Times New Roman" panose="02020603050405020304" pitchFamily="16" charset="0"/>
                <a:ea typeface="DejaVu Sans" panose="020B0603030804020204" charset="0"/>
                <a:cs typeface="DejaVu Sans" panose="020B0603030804020204" charset="0"/>
              </a:rPr>
            </a:fld>
            <a:endParaRPr lang="en-US" altLang="ru-RU">
              <a:solidFill>
                <a:srgbClr val="000000"/>
              </a:solidFill>
              <a:latin typeface="Times New Roman" panose="02020603050405020304" pitchFamily="16" charset="0"/>
              <a:ea typeface="DejaVu Sans" panose="020B0603030804020204" charset="0"/>
              <a:cs typeface="DejaVu Sans" panose="020B0603030804020204" charset="0"/>
            </a:endParaRPr>
          </a:p>
        </p:txBody>
      </p:sp>
      <p:sp>
        <p:nvSpPr>
          <p:cNvPr id="59395" name="Rectangle 1"/>
          <p:cNvSpPr txBox="1">
            <a:spLocks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50178" name="Text Box 2"/>
          <p:cNvSpPr txBox="1"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/>
          <a:p>
            <a:pPr marL="215900" indent="-214630" eaLnBrk="1">
              <a:spcBef>
                <a:spcPct val="0"/>
              </a:spcBef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</a:tabLst>
              <a:defRPr/>
            </a:pPr>
            <a:r>
              <a:rPr lang="en-US" altLang="ru-RU" smtClean="0">
                <a:latin typeface="+mn-lt"/>
                <a:ea typeface="+mn-ea"/>
                <a:cs typeface="+mn-ea"/>
              </a:rPr>
              <a:t>	</a:t>
            </a:r>
            <a:endParaRPr lang="en-US" altLang="ru-RU" smtClean="0">
              <a:latin typeface="+mn-lt"/>
              <a:ea typeface="+mn-ea"/>
              <a:cs typeface="+mn-ea"/>
            </a:endParaRPr>
          </a:p>
        </p:txBody>
      </p:sp>
      <p:sp>
        <p:nvSpPr>
          <p:cNvPr id="59397" name="Text Box 3"/>
          <p:cNvSpPr txBox="1">
            <a:spLocks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0C6EAE5-F4E0-42F4-B555-7EACBFF9417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655" defTabSz="914400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  <a:endParaRPr lang="ru-RU" dirty="0"/>
          </a:p>
          <a:p>
            <a:pPr indent="287655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  <a:endParaRPr lang="ru-RU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98964F3-C067-4A66-8722-93E1EA6179D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6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</a:extLst>
        </p:spPr>
        <p:txBody>
          <a:bodyPr/>
          <a:lstStyle>
            <a:lvl1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eaLnBrk="1"/>
            <a:fld id="{36A7F05C-E4CC-401A-8346-6629137A65C3}" type="slidenum">
              <a:rPr lang="en-US" altLang="ru-RU">
                <a:solidFill>
                  <a:srgbClr val="000000"/>
                </a:solidFill>
                <a:latin typeface="Times New Roman" panose="02020603050405020304" pitchFamily="16" charset="0"/>
                <a:ea typeface="DejaVu Sans" panose="020B0603030804020204" charset="0"/>
                <a:cs typeface="DejaVu Sans" panose="020B0603030804020204" charset="0"/>
              </a:rPr>
            </a:fld>
            <a:endParaRPr lang="en-US" altLang="ru-RU">
              <a:solidFill>
                <a:srgbClr val="000000"/>
              </a:solidFill>
              <a:latin typeface="Times New Roman" panose="02020603050405020304" pitchFamily="16" charset="0"/>
              <a:ea typeface="DejaVu Sans" panose="020B0603030804020204" charset="0"/>
              <a:cs typeface="DejaVu Sans" panose="020B0603030804020204" charset="0"/>
            </a:endParaRPr>
          </a:p>
        </p:txBody>
      </p:sp>
      <p:sp>
        <p:nvSpPr>
          <p:cNvPr id="107523" name="Rectangle 1"/>
          <p:cNvSpPr txBox="1">
            <a:spLocks noChangeArrowheads="1" noTextEdit="1"/>
          </p:cNvSpPr>
          <p:nvPr>
            <p:ph type="sldImg"/>
          </p:nvPr>
        </p:nvSpPr>
        <p:spPr>
          <a:xfrm>
            <a:off x="1143000" y="695325"/>
            <a:ext cx="4572000" cy="34290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07524" name="Rectangle 2"/>
          <p:cNvSpPr txBox="1">
            <a:spLocks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6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</a:extLst>
        </p:spPr>
        <p:txBody>
          <a:bodyPr/>
          <a:lstStyle>
            <a:lvl1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eaLnBrk="1"/>
            <a:fld id="{2101A334-925D-4C77-B4D0-71958DD30654}" type="slidenum">
              <a:rPr lang="en-US" altLang="ru-RU">
                <a:solidFill>
                  <a:srgbClr val="000000"/>
                </a:solidFill>
                <a:latin typeface="Times New Roman" panose="02020603050405020304" pitchFamily="16" charset="0"/>
                <a:ea typeface="DejaVu Sans" panose="020B0603030804020204" charset="0"/>
                <a:cs typeface="DejaVu Sans" panose="020B0603030804020204" charset="0"/>
              </a:rPr>
            </a:fld>
            <a:endParaRPr lang="en-US" altLang="ru-RU">
              <a:solidFill>
                <a:srgbClr val="000000"/>
              </a:solidFill>
              <a:latin typeface="Times New Roman" panose="02020603050405020304" pitchFamily="16" charset="0"/>
              <a:ea typeface="DejaVu Sans" panose="020B0603030804020204" charset="0"/>
              <a:cs typeface="DejaVu Sans" panose="020B0603030804020204" charset="0"/>
            </a:endParaRPr>
          </a:p>
        </p:txBody>
      </p:sp>
      <p:sp>
        <p:nvSpPr>
          <p:cNvPr id="108547" name="Rectangle 1"/>
          <p:cNvSpPr txBox="1">
            <a:spLocks noChangeArrowheads="1" noTextEdit="1"/>
          </p:cNvSpPr>
          <p:nvPr>
            <p:ph type="sldImg"/>
          </p:nvPr>
        </p:nvSpPr>
        <p:spPr>
          <a:xfrm>
            <a:off x="1143000" y="695325"/>
            <a:ext cx="4572000" cy="34290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08548" name="Rectangle 2"/>
          <p:cNvSpPr txBox="1">
            <a:spLocks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6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</a:extLst>
        </p:spPr>
        <p:txBody>
          <a:bodyPr/>
          <a:lstStyle>
            <a:lvl1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eaLnBrk="1"/>
            <a:fld id="{D27EAF2F-1332-499A-AF17-4436E4D9E537}" type="slidenum">
              <a:rPr lang="en-US" altLang="ru-RU">
                <a:solidFill>
                  <a:srgbClr val="000000"/>
                </a:solidFill>
                <a:latin typeface="Times New Roman" panose="02020603050405020304" pitchFamily="16" charset="0"/>
                <a:ea typeface="DejaVu Sans" panose="020B0603030804020204" charset="0"/>
                <a:cs typeface="DejaVu Sans" panose="020B0603030804020204" charset="0"/>
              </a:rPr>
            </a:fld>
            <a:endParaRPr lang="en-US" altLang="ru-RU">
              <a:solidFill>
                <a:srgbClr val="000000"/>
              </a:solidFill>
              <a:latin typeface="Times New Roman" panose="02020603050405020304" pitchFamily="16" charset="0"/>
              <a:ea typeface="DejaVu Sans" panose="020B0603030804020204" charset="0"/>
              <a:cs typeface="DejaVu Sans" panose="020B0603030804020204" charset="0"/>
            </a:endParaRPr>
          </a:p>
        </p:txBody>
      </p:sp>
      <p:sp>
        <p:nvSpPr>
          <p:cNvPr id="109571" name="Rectangle 1"/>
          <p:cNvSpPr txBox="1">
            <a:spLocks noChangeArrowheads="1" noTextEdit="1"/>
          </p:cNvSpPr>
          <p:nvPr>
            <p:ph type="sldImg"/>
          </p:nvPr>
        </p:nvSpPr>
        <p:spPr>
          <a:xfrm>
            <a:off x="1143000" y="695325"/>
            <a:ext cx="4572000" cy="34290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09572" name="Rectangle 2"/>
          <p:cNvSpPr txBox="1">
            <a:spLocks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05E6458-3F23-4BB8-8927-4CF002F6693B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3B6565E-B334-4A64-BADA-C56DA8B59DDC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763588"/>
            <a:ext cx="5026025" cy="37703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0B212FF-64EE-4B1E-93F4-6D09F2028D5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3050"/>
            <a:ext cx="2055813" cy="53070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3050"/>
            <a:ext cx="6019800" cy="53070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4963"/>
            <a:ext cx="4037013" cy="397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6613" y="1604963"/>
            <a:ext cx="4038600" cy="397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3050"/>
            <a:ext cx="2055813" cy="53070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3050"/>
            <a:ext cx="6019800" cy="53070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4963"/>
            <a:ext cx="4037013" cy="397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6613" y="1604963"/>
            <a:ext cx="4038600" cy="397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3050"/>
            <a:ext cx="2055813" cy="53070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3050"/>
            <a:ext cx="6019800" cy="53070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4963"/>
            <a:ext cx="4037013" cy="397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6613" y="1604963"/>
            <a:ext cx="4038600" cy="397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  <a:endParaRPr lang="ru-RU" smtClean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4" Type="http://schemas.openxmlformats.org/officeDocument/2006/relationships/theme" Target="../theme/theme1.xml"/><Relationship Id="rId13" Type="http://schemas.openxmlformats.org/officeDocument/2006/relationships/image" Target="../media/image2.png"/><Relationship Id="rId12" Type="http://schemas.openxmlformats.org/officeDocument/2006/relationships/image" Target="../media/image1.png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4" Type="http://schemas.openxmlformats.org/officeDocument/2006/relationships/theme" Target="../theme/theme2.xml"/><Relationship Id="rId13" Type="http://schemas.openxmlformats.org/officeDocument/2006/relationships/image" Target="../media/image2.png"/><Relationship Id="rId12" Type="http://schemas.openxmlformats.org/officeDocument/2006/relationships/image" Target="../media/image1.png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0.xml"/><Relationship Id="rId7" Type="http://schemas.openxmlformats.org/officeDocument/2006/relationships/slideLayout" Target="../slideLayouts/slideLayout29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4" Type="http://schemas.openxmlformats.org/officeDocument/2006/relationships/theme" Target="../theme/theme3.xml"/><Relationship Id="rId13" Type="http://schemas.openxmlformats.org/officeDocument/2006/relationships/image" Target="../media/image4.png"/><Relationship Id="rId12" Type="http://schemas.openxmlformats.org/officeDocument/2006/relationships/image" Target="../media/image3.png"/><Relationship Id="rId11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 hidden="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26175"/>
            <a:ext cx="9144000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027" name="Picture 2" hidden="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1825" y="6272213"/>
            <a:ext cx="5000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28" name="Text Box 3"/>
          <p:cNvSpPr txBox="1">
            <a:spLocks noChangeArrowheads="1"/>
          </p:cNvSpPr>
          <p:nvPr/>
        </p:nvSpPr>
        <p:spPr bwMode="auto">
          <a:xfrm>
            <a:off x="6278563" y="6218238"/>
            <a:ext cx="274637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3050"/>
            <a:ext cx="8228013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en-GB" altLang="ru-RU" smtClean="0"/>
              <a:t>Click to edit the title text format</a:t>
            </a:r>
            <a:endParaRPr lang="en-GB" altLang="ru-RU" smtClean="0"/>
          </a:p>
        </p:txBody>
      </p:sp>
      <p:sp>
        <p:nvSpPr>
          <p:cNvPr id="1030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4963"/>
            <a:ext cx="8228013" cy="397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69088" rIns="0" bIns="0" numCol="1" anchor="t" anchorCtr="0" compatLnSpc="1"/>
          <a:lstStyle/>
          <a:p>
            <a:pPr lvl="0"/>
            <a:r>
              <a:rPr lang="en-GB" altLang="ru-RU" smtClean="0"/>
              <a:t>Click to edit the outline text format</a:t>
            </a:r>
            <a:endParaRPr lang="en-GB" altLang="ru-RU" smtClean="0"/>
          </a:p>
          <a:p>
            <a:pPr lvl="1"/>
            <a:r>
              <a:rPr lang="en-GB" altLang="ru-RU" smtClean="0"/>
              <a:t>Second Outline Level</a:t>
            </a:r>
            <a:endParaRPr lang="en-GB" altLang="ru-RU" smtClean="0"/>
          </a:p>
          <a:p>
            <a:pPr lvl="2"/>
            <a:r>
              <a:rPr lang="en-GB" altLang="ru-RU" smtClean="0"/>
              <a:t>Third Outline Level</a:t>
            </a:r>
            <a:endParaRPr lang="en-GB" altLang="ru-RU" smtClean="0"/>
          </a:p>
          <a:p>
            <a:pPr lvl="3"/>
            <a:r>
              <a:rPr lang="en-GB" altLang="ru-RU" smtClean="0"/>
              <a:t>Fourth Outline Level</a:t>
            </a:r>
            <a:endParaRPr lang="en-GB" altLang="ru-RU" smtClean="0"/>
          </a:p>
          <a:p>
            <a:pPr lvl="4"/>
            <a:r>
              <a:rPr lang="en-GB" altLang="ru-RU" smtClean="0"/>
              <a:t>Fifth Outline Level</a:t>
            </a:r>
            <a:endParaRPr lang="en-GB" altLang="ru-RU" smtClean="0"/>
          </a:p>
          <a:p>
            <a:pPr lvl="4"/>
            <a:r>
              <a:rPr lang="en-GB" altLang="ru-RU" smtClean="0"/>
              <a:t>Sixth Outline Level</a:t>
            </a:r>
            <a:endParaRPr lang="en-GB" altLang="ru-RU" smtClean="0"/>
          </a:p>
          <a:p>
            <a:pPr lvl="4"/>
            <a:r>
              <a:rPr lang="en-GB" altLang="ru-RU" smtClean="0"/>
              <a:t>Seventh Outline Level</a:t>
            </a:r>
            <a:endParaRPr lang="en-GB" altLang="ru-RU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25146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29718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34290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38862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defTabSz="457200" rtl="0" eaLnBrk="0" fontAlgn="base" hangingPunct="0">
        <a:lnSpc>
          <a:spcPct val="83000"/>
        </a:lnSpc>
        <a:spcBef>
          <a:spcPts val="142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lnSpc>
          <a:spcPct val="83000"/>
        </a:lnSpc>
        <a:spcBef>
          <a:spcPts val="114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3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lnSpc>
          <a:spcPct val="83000"/>
        </a:lnSpc>
        <a:spcBef>
          <a:spcPts val="85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3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lnSpc>
          <a:spcPct val="83000"/>
        </a:lnSpc>
        <a:spcBef>
          <a:spcPts val="57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3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57200" rtl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57200" rtl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57200" rtl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57200" rtl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" hidden="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26175"/>
            <a:ext cx="9144000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051" name="Picture 2" hidden="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1825" y="6272213"/>
            <a:ext cx="5000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052" name="Text Box 3"/>
          <p:cNvSpPr txBox="1">
            <a:spLocks noChangeArrowheads="1"/>
          </p:cNvSpPr>
          <p:nvPr/>
        </p:nvSpPr>
        <p:spPr bwMode="auto">
          <a:xfrm>
            <a:off x="8412163" y="6400800"/>
            <a:ext cx="274637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3050"/>
            <a:ext cx="8228013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en-GB" altLang="ru-RU" smtClean="0"/>
              <a:t>Click to edit the title text format</a:t>
            </a:r>
            <a:endParaRPr lang="en-GB" altLang="ru-RU" smtClean="0"/>
          </a:p>
        </p:txBody>
      </p:sp>
      <p:sp>
        <p:nvSpPr>
          <p:cNvPr id="2054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4963"/>
            <a:ext cx="8228013" cy="397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69088" rIns="0" bIns="0" numCol="1" anchor="t" anchorCtr="0" compatLnSpc="1"/>
          <a:lstStyle/>
          <a:p>
            <a:pPr lvl="0"/>
            <a:r>
              <a:rPr lang="en-GB" altLang="ru-RU" smtClean="0"/>
              <a:t>Click to edit the outline text format</a:t>
            </a:r>
            <a:endParaRPr lang="en-GB" altLang="ru-RU" smtClean="0"/>
          </a:p>
          <a:p>
            <a:pPr lvl="1"/>
            <a:r>
              <a:rPr lang="en-GB" altLang="ru-RU" smtClean="0"/>
              <a:t>Second Outline Level</a:t>
            </a:r>
            <a:endParaRPr lang="en-GB" altLang="ru-RU" smtClean="0"/>
          </a:p>
          <a:p>
            <a:pPr lvl="2"/>
            <a:r>
              <a:rPr lang="en-GB" altLang="ru-RU" smtClean="0"/>
              <a:t>Third Outline Level</a:t>
            </a:r>
            <a:endParaRPr lang="en-GB" altLang="ru-RU" smtClean="0"/>
          </a:p>
          <a:p>
            <a:pPr lvl="3"/>
            <a:r>
              <a:rPr lang="en-GB" altLang="ru-RU" smtClean="0"/>
              <a:t>Fourth Outline Level</a:t>
            </a:r>
            <a:endParaRPr lang="en-GB" altLang="ru-RU" smtClean="0"/>
          </a:p>
          <a:p>
            <a:pPr lvl="4"/>
            <a:r>
              <a:rPr lang="en-GB" altLang="ru-RU" smtClean="0"/>
              <a:t>Fifth Outline Level</a:t>
            </a:r>
            <a:endParaRPr lang="en-GB" altLang="ru-RU" smtClean="0"/>
          </a:p>
          <a:p>
            <a:pPr lvl="4"/>
            <a:r>
              <a:rPr lang="en-GB" altLang="ru-RU" smtClean="0"/>
              <a:t>Sixth Outline Level</a:t>
            </a:r>
            <a:endParaRPr lang="en-GB" altLang="ru-RU" smtClean="0"/>
          </a:p>
          <a:p>
            <a:pPr lvl="4"/>
            <a:r>
              <a:rPr lang="en-GB" altLang="ru-RU" smtClean="0"/>
              <a:t>Seventh Outline Level</a:t>
            </a:r>
            <a:endParaRPr lang="en-GB" altLang="ru-RU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25146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29718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34290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38862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defTabSz="457200" rtl="0" eaLnBrk="0" fontAlgn="base" hangingPunct="0">
        <a:lnSpc>
          <a:spcPct val="83000"/>
        </a:lnSpc>
        <a:spcBef>
          <a:spcPts val="142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lnSpc>
          <a:spcPct val="83000"/>
        </a:lnSpc>
        <a:spcBef>
          <a:spcPts val="114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3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lnSpc>
          <a:spcPct val="83000"/>
        </a:lnSpc>
        <a:spcBef>
          <a:spcPts val="85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3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lnSpc>
          <a:spcPct val="83000"/>
        </a:lnSpc>
        <a:spcBef>
          <a:spcPts val="57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3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57200" rtl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57200" rtl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57200" rtl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57200" rtl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" hidden="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26175"/>
            <a:ext cx="9144000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099" name="Picture 2" hidden="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1825" y="6272213"/>
            <a:ext cx="5000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100" name="Text Box 3"/>
          <p:cNvSpPr txBox="1">
            <a:spLocks noChangeArrowheads="1"/>
          </p:cNvSpPr>
          <p:nvPr/>
        </p:nvSpPr>
        <p:spPr bwMode="auto">
          <a:xfrm>
            <a:off x="8423275" y="6403975"/>
            <a:ext cx="26352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4101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3050"/>
            <a:ext cx="8228013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en-GB" altLang="ru-RU" smtClean="0"/>
              <a:t>Click to edit the title text format</a:t>
            </a:r>
            <a:endParaRPr lang="en-GB" altLang="ru-RU" smtClean="0"/>
          </a:p>
        </p:txBody>
      </p:sp>
      <p:sp>
        <p:nvSpPr>
          <p:cNvPr id="4102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4963"/>
            <a:ext cx="8228013" cy="397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69088" rIns="0" bIns="0" numCol="1" anchor="t" anchorCtr="0" compatLnSpc="1"/>
          <a:lstStyle/>
          <a:p>
            <a:pPr lvl="0"/>
            <a:r>
              <a:rPr lang="en-GB" altLang="ru-RU" smtClean="0"/>
              <a:t>Click to edit the outline text format</a:t>
            </a:r>
            <a:endParaRPr lang="en-GB" altLang="ru-RU" smtClean="0"/>
          </a:p>
          <a:p>
            <a:pPr lvl="1"/>
            <a:r>
              <a:rPr lang="en-GB" altLang="ru-RU" smtClean="0"/>
              <a:t>Second Outline Level</a:t>
            </a:r>
            <a:endParaRPr lang="en-GB" altLang="ru-RU" smtClean="0"/>
          </a:p>
          <a:p>
            <a:pPr lvl="2"/>
            <a:r>
              <a:rPr lang="en-GB" altLang="ru-RU" smtClean="0"/>
              <a:t>Third Outline Level</a:t>
            </a:r>
            <a:endParaRPr lang="en-GB" altLang="ru-RU" smtClean="0"/>
          </a:p>
          <a:p>
            <a:pPr lvl="3"/>
            <a:r>
              <a:rPr lang="en-GB" altLang="ru-RU" smtClean="0"/>
              <a:t>Fourth Outline Level</a:t>
            </a:r>
            <a:endParaRPr lang="en-GB" altLang="ru-RU" smtClean="0"/>
          </a:p>
          <a:p>
            <a:pPr lvl="4"/>
            <a:r>
              <a:rPr lang="en-GB" altLang="ru-RU" smtClean="0"/>
              <a:t>Fifth Outline Level</a:t>
            </a:r>
            <a:endParaRPr lang="en-GB" altLang="ru-RU" smtClean="0"/>
          </a:p>
          <a:p>
            <a:pPr lvl="4"/>
            <a:r>
              <a:rPr lang="en-GB" altLang="ru-RU" smtClean="0"/>
              <a:t>Sixth Outline Level</a:t>
            </a:r>
            <a:endParaRPr lang="en-GB" altLang="ru-RU" smtClean="0"/>
          </a:p>
          <a:p>
            <a:pPr lvl="4"/>
            <a:r>
              <a:rPr lang="en-GB" altLang="ru-RU" smtClean="0"/>
              <a:t>Seventh Outline Level</a:t>
            </a:r>
            <a:endParaRPr lang="en-GB" altLang="ru-RU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25146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29718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34290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38862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defTabSz="457200" rtl="0" eaLnBrk="0" fontAlgn="base" hangingPunct="0">
        <a:lnSpc>
          <a:spcPct val="83000"/>
        </a:lnSpc>
        <a:spcBef>
          <a:spcPts val="142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lnSpc>
          <a:spcPct val="83000"/>
        </a:lnSpc>
        <a:spcBef>
          <a:spcPts val="114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3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lnSpc>
          <a:spcPct val="83000"/>
        </a:lnSpc>
        <a:spcBef>
          <a:spcPts val="85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3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lnSpc>
          <a:spcPct val="83000"/>
        </a:lnSpc>
        <a:spcBef>
          <a:spcPts val="57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3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57200" rtl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57200" rtl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57200" rtl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57200" rtl="0" fontAlgn="base" hangingPunct="0">
        <a:lnSpc>
          <a:spcPct val="83000"/>
        </a:lnSpc>
        <a:spcBef>
          <a:spcPts val="29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.x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image" Target="../media/image30.jpeg"/><Relationship Id="rId8" Type="http://schemas.openxmlformats.org/officeDocument/2006/relationships/image" Target="../media/image29.jpeg"/><Relationship Id="rId7" Type="http://schemas.openxmlformats.org/officeDocument/2006/relationships/image" Target="../media/image28.jpeg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3" Type="http://schemas.openxmlformats.org/officeDocument/2006/relationships/image" Target="../media/image24.png"/><Relationship Id="rId26" Type="http://schemas.openxmlformats.org/officeDocument/2006/relationships/slideLayout" Target="../slideLayouts/slideLayout13.xml"/><Relationship Id="rId25" Type="http://schemas.openxmlformats.org/officeDocument/2006/relationships/image" Target="../media/image46.jpeg"/><Relationship Id="rId24" Type="http://schemas.openxmlformats.org/officeDocument/2006/relationships/image" Target="../media/image45.png"/><Relationship Id="rId23" Type="http://schemas.openxmlformats.org/officeDocument/2006/relationships/image" Target="../media/image44.jpeg"/><Relationship Id="rId22" Type="http://schemas.openxmlformats.org/officeDocument/2006/relationships/image" Target="../media/image43.png"/><Relationship Id="rId21" Type="http://schemas.openxmlformats.org/officeDocument/2006/relationships/image" Target="../media/image42.png"/><Relationship Id="rId20" Type="http://schemas.openxmlformats.org/officeDocument/2006/relationships/image" Target="../media/image41.png"/><Relationship Id="rId2" Type="http://schemas.openxmlformats.org/officeDocument/2006/relationships/image" Target="../media/image23.png"/><Relationship Id="rId19" Type="http://schemas.openxmlformats.org/officeDocument/2006/relationships/image" Target="../media/image40.png"/><Relationship Id="rId18" Type="http://schemas.openxmlformats.org/officeDocument/2006/relationships/image" Target="../media/image39.png"/><Relationship Id="rId17" Type="http://schemas.openxmlformats.org/officeDocument/2006/relationships/image" Target="../media/image38.jpeg"/><Relationship Id="rId16" Type="http://schemas.openxmlformats.org/officeDocument/2006/relationships/image" Target="../media/image37.jpeg"/><Relationship Id="rId15" Type="http://schemas.openxmlformats.org/officeDocument/2006/relationships/image" Target="../media/image36.jpeg"/><Relationship Id="rId14" Type="http://schemas.openxmlformats.org/officeDocument/2006/relationships/image" Target="../media/image35.png"/><Relationship Id="rId13" Type="http://schemas.openxmlformats.org/officeDocument/2006/relationships/image" Target="../media/image34.png"/><Relationship Id="rId12" Type="http://schemas.openxmlformats.org/officeDocument/2006/relationships/image" Target="../media/image33.jpeg"/><Relationship Id="rId11" Type="http://schemas.openxmlformats.org/officeDocument/2006/relationships/image" Target="../media/image32.jpeg"/><Relationship Id="rId10" Type="http://schemas.openxmlformats.org/officeDocument/2006/relationships/image" Target="../media/image31.jpeg"/><Relationship Id="rId1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image" Target="../media/image51.jpeg"/><Relationship Id="rId8" Type="http://schemas.openxmlformats.org/officeDocument/2006/relationships/image" Target="../media/image50.jpeg"/><Relationship Id="rId7" Type="http://schemas.openxmlformats.org/officeDocument/2006/relationships/image" Target="../media/image49.jpeg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2" Type="http://schemas.openxmlformats.org/officeDocument/2006/relationships/slideLayout" Target="../slideLayouts/slideLayout13.xml"/><Relationship Id="rId11" Type="http://schemas.openxmlformats.org/officeDocument/2006/relationships/image" Target="../media/image53.jpeg"/><Relationship Id="rId10" Type="http://schemas.openxmlformats.org/officeDocument/2006/relationships/image" Target="../media/image52.jpeg"/><Relationship Id="rId1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46.jpeg"/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0.xml"/><Relationship Id="rId8" Type="http://schemas.openxmlformats.org/officeDocument/2006/relationships/slideLayout" Target="../slideLayouts/slideLayout13.xml"/><Relationship Id="rId7" Type="http://schemas.openxmlformats.org/officeDocument/2006/relationships/image" Target="../media/image57.jpeg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openxmlformats.org/officeDocument/2006/relationships/image" Target="../media/image54.png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58.png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7" Type="http://schemas.openxmlformats.org/officeDocument/2006/relationships/slideLayout" Target="../slideLayouts/slideLayout13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4.xml"/><Relationship Id="rId6" Type="http://schemas.openxmlformats.org/officeDocument/2006/relationships/slideLayout" Target="../slideLayouts/slideLayout13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7" Type="http://schemas.openxmlformats.org/officeDocument/2006/relationships/slideLayout" Target="../slideLayouts/slideLayout13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10.jpeg"/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image" Target="../media/image72.jpeg"/><Relationship Id="rId8" Type="http://schemas.openxmlformats.org/officeDocument/2006/relationships/image" Target="../media/image71.jpeg"/><Relationship Id="rId7" Type="http://schemas.openxmlformats.org/officeDocument/2006/relationships/image" Target="../media/image70.jpeg"/><Relationship Id="rId6" Type="http://schemas.openxmlformats.org/officeDocument/2006/relationships/image" Target="../media/image69.jpeg"/><Relationship Id="rId5" Type="http://schemas.openxmlformats.org/officeDocument/2006/relationships/image" Target="../media/image68.jpeg"/><Relationship Id="rId4" Type="http://schemas.openxmlformats.org/officeDocument/2006/relationships/image" Target="../media/image67.png"/><Relationship Id="rId3" Type="http://schemas.openxmlformats.org/officeDocument/2006/relationships/image" Target="../media/image6.emf"/><Relationship Id="rId2" Type="http://schemas.openxmlformats.org/officeDocument/2006/relationships/oleObject" Target="../embeddings/oleObject2.bin"/><Relationship Id="rId17" Type="http://schemas.openxmlformats.org/officeDocument/2006/relationships/notesSlide" Target="../notesSlides/notesSlide16.xml"/><Relationship Id="rId16" Type="http://schemas.openxmlformats.org/officeDocument/2006/relationships/vmlDrawing" Target="../drawings/vmlDrawing2.vml"/><Relationship Id="rId15" Type="http://schemas.openxmlformats.org/officeDocument/2006/relationships/slideLayout" Target="../slideLayouts/slideLayout12.xml"/><Relationship Id="rId14" Type="http://schemas.openxmlformats.org/officeDocument/2006/relationships/image" Target="../media/image8.png"/><Relationship Id="rId13" Type="http://schemas.openxmlformats.org/officeDocument/2006/relationships/image" Target="../media/image7.jpeg"/><Relationship Id="rId12" Type="http://schemas.openxmlformats.org/officeDocument/2006/relationships/image" Target="../media/image75.jpeg"/><Relationship Id="rId11" Type="http://schemas.openxmlformats.org/officeDocument/2006/relationships/image" Target="../media/image74.jpeg"/><Relationship Id="rId10" Type="http://schemas.openxmlformats.org/officeDocument/2006/relationships/image" Target="../media/image73.jpeg"/><Relationship Id="rId1" Type="http://schemas.openxmlformats.org/officeDocument/2006/relationships/tags" Target="../tags/tag3.xml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7.xml"/><Relationship Id="rId3" Type="http://schemas.openxmlformats.org/officeDocument/2006/relationships/slideLayout" Target="../slideLayouts/slideLayout13.xml"/><Relationship Id="rId2" Type="http://schemas.openxmlformats.org/officeDocument/2006/relationships/image" Target="../media/image9.png"/><Relationship Id="rId1" Type="http://schemas.openxmlformats.org/officeDocument/2006/relationships/image" Target="../media/image76.png"/></Relationships>
</file>

<file path=ppt/slides/_rels/slide22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8.png"/><Relationship Id="rId2" Type="http://schemas.openxmlformats.org/officeDocument/2006/relationships/image" Target="../media/image77.png"/><Relationship Id="rId1" Type="http://schemas.openxmlformats.org/officeDocument/2006/relationships/image" Target="../media/image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7" Type="http://schemas.openxmlformats.org/officeDocument/2006/relationships/slideLayout" Target="../slideLayouts/slideLayout15.xml"/><Relationship Id="rId6" Type="http://schemas.openxmlformats.org/officeDocument/2006/relationships/image" Target="../media/image80.png"/><Relationship Id="rId5" Type="http://schemas.openxmlformats.org/officeDocument/2006/relationships/image" Target="../media/image7.jpeg"/><Relationship Id="rId4" Type="http://schemas.openxmlformats.org/officeDocument/2006/relationships/image" Target="../media/image79.png"/><Relationship Id="rId3" Type="http://schemas.openxmlformats.org/officeDocument/2006/relationships/image" Target="../media/image78.png"/><Relationship Id="rId2" Type="http://schemas.openxmlformats.org/officeDocument/2006/relationships/image" Target="../media/image8.png"/><Relationship Id="rId1" Type="http://schemas.openxmlformats.org/officeDocument/2006/relationships/image" Target="../media/image9.png"/></Relationships>
</file>

<file path=ppt/slides/_rels/slide2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8.png"/><Relationship Id="rId3" Type="http://schemas.openxmlformats.org/officeDocument/2006/relationships/image" Target="../media/image7.jpeg"/><Relationship Id="rId2" Type="http://schemas.openxmlformats.org/officeDocument/2006/relationships/image" Target="../media/image9.png"/><Relationship Id="rId1" Type="http://schemas.openxmlformats.org/officeDocument/2006/relationships/image" Target="../media/image81.png"/></Relationships>
</file>

<file path=ppt/slides/_rels/slide25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82.png"/><Relationship Id="rId2" Type="http://schemas.openxmlformats.org/officeDocument/2006/relationships/image" Target="../media/image8.png"/><Relationship Id="rId1" Type="http://schemas.openxmlformats.org/officeDocument/2006/relationships/image" Target="../media/image9.png"/></Relationships>
</file>

<file path=ppt/slides/_rels/slide26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15.xml"/><Relationship Id="rId4" Type="http://schemas.openxmlformats.org/officeDocument/2006/relationships/image" Target="../media/image83.png"/><Relationship Id="rId3" Type="http://schemas.openxmlformats.org/officeDocument/2006/relationships/image" Target="../media/image82.png"/><Relationship Id="rId2" Type="http://schemas.openxmlformats.org/officeDocument/2006/relationships/image" Target="../media/image8.png"/><Relationship Id="rId1" Type="http://schemas.openxmlformats.org/officeDocument/2006/relationships/image" Target="../media/image9.png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2.xml"/><Relationship Id="rId6" Type="http://schemas.openxmlformats.org/officeDocument/2006/relationships/slideLayout" Target="../slideLayouts/slideLayout15.xml"/><Relationship Id="rId5" Type="http://schemas.openxmlformats.org/officeDocument/2006/relationships/image" Target="../media/image83.png"/><Relationship Id="rId4" Type="http://schemas.openxmlformats.org/officeDocument/2006/relationships/image" Target="../media/image84.png"/><Relationship Id="rId3" Type="http://schemas.openxmlformats.org/officeDocument/2006/relationships/image" Target="../media/image82.png"/><Relationship Id="rId2" Type="http://schemas.openxmlformats.org/officeDocument/2006/relationships/image" Target="../media/image8.png"/><Relationship Id="rId1" Type="http://schemas.openxmlformats.org/officeDocument/2006/relationships/image" Target="../media/image9.png"/></Relationships>
</file>

<file path=ppt/slides/_rels/slide28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3.xml"/><Relationship Id="rId6" Type="http://schemas.openxmlformats.org/officeDocument/2006/relationships/slideLayout" Target="../slideLayouts/slideLayout15.xml"/><Relationship Id="rId5" Type="http://schemas.openxmlformats.org/officeDocument/2006/relationships/image" Target="../media/image84.png"/><Relationship Id="rId4" Type="http://schemas.openxmlformats.org/officeDocument/2006/relationships/image" Target="../media/image82.png"/><Relationship Id="rId3" Type="http://schemas.openxmlformats.org/officeDocument/2006/relationships/image" Target="../media/image85.png"/><Relationship Id="rId2" Type="http://schemas.openxmlformats.org/officeDocument/2006/relationships/image" Target="../media/image8.png"/><Relationship Id="rId1" Type="http://schemas.openxmlformats.org/officeDocument/2006/relationships/image" Target="../media/image9.png"/></Relationships>
</file>

<file path=ppt/slides/_rels/slide2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84.png"/><Relationship Id="rId3" Type="http://schemas.openxmlformats.org/officeDocument/2006/relationships/image" Target="../media/image85.png"/><Relationship Id="rId2" Type="http://schemas.openxmlformats.org/officeDocument/2006/relationships/image" Target="../media/image8.png"/><Relationship Id="rId1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9.png"/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image" Target="../media/image11.jpeg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5.xml"/><Relationship Id="rId8" Type="http://schemas.openxmlformats.org/officeDocument/2006/relationships/vmlDrawing" Target="../drawings/vmlDrawing3.vml"/><Relationship Id="rId7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7.png"/><Relationship Id="rId3" Type="http://schemas.openxmlformats.org/officeDocument/2006/relationships/image" Target="../media/image6.emf"/><Relationship Id="rId2" Type="http://schemas.openxmlformats.org/officeDocument/2006/relationships/oleObject" Target="../embeddings/oleObject3.bin"/><Relationship Id="rId1" Type="http://schemas.openxmlformats.org/officeDocument/2006/relationships/tags" Target="../tags/tag4.xml"/></Relationships>
</file>

<file path=ppt/slides/_rels/slide3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4.xml"/><Relationship Id="rId4" Type="http://schemas.openxmlformats.org/officeDocument/2006/relationships/image" Target="../media/image86.png"/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image" Target="../media/image7.jpeg"/></Relationships>
</file>

<file path=ppt/slides/_rels/slide32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jpeg"/><Relationship Id="rId8" Type="http://schemas.openxmlformats.org/officeDocument/2006/relationships/image" Target="../media/image93.png"/><Relationship Id="rId7" Type="http://schemas.openxmlformats.org/officeDocument/2006/relationships/image" Target="../media/image92.png"/><Relationship Id="rId6" Type="http://schemas.openxmlformats.org/officeDocument/2006/relationships/hyperlink" Target="https://prosv.ru/pages/pisa.html" TargetMode="External"/><Relationship Id="rId5" Type="http://schemas.openxmlformats.org/officeDocument/2006/relationships/image" Target="../media/image91.png"/><Relationship Id="rId4" Type="http://schemas.openxmlformats.org/officeDocument/2006/relationships/image" Target="../media/image90.png"/><Relationship Id="rId3" Type="http://schemas.openxmlformats.org/officeDocument/2006/relationships/image" Target="../media/image89.jpeg"/><Relationship Id="rId2" Type="http://schemas.openxmlformats.org/officeDocument/2006/relationships/image" Target="../media/image88.png"/><Relationship Id="rId13" Type="http://schemas.openxmlformats.org/officeDocument/2006/relationships/notesSlide" Target="../notesSlides/notesSlide27.xml"/><Relationship Id="rId12" Type="http://schemas.openxmlformats.org/officeDocument/2006/relationships/slideLayout" Target="../slideLayouts/slideLayout24.xml"/><Relationship Id="rId11" Type="http://schemas.openxmlformats.org/officeDocument/2006/relationships/image" Target="../media/image9.png"/><Relationship Id="rId10" Type="http://schemas.openxmlformats.org/officeDocument/2006/relationships/image" Target="../media/image8.png"/><Relationship Id="rId1" Type="http://schemas.openxmlformats.org/officeDocument/2006/relationships/image" Target="../media/image87.png"/></Relationships>
</file>

<file path=ppt/slides/_rels/slide3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8.xml"/><Relationship Id="rId3" Type="http://schemas.openxmlformats.org/officeDocument/2006/relationships/slideLayout" Target="../slideLayouts/slideLayout24.xml"/><Relationship Id="rId2" Type="http://schemas.openxmlformats.org/officeDocument/2006/relationships/image" Target="../media/image7.jpeg"/><Relationship Id="rId1" Type="http://schemas.openxmlformats.org/officeDocument/2006/relationships/image" Target="../media/image94.png"/></Relationships>
</file>

<file path=ppt/slides/_rels/slide4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2.xml"/><Relationship Id="rId4" Type="http://schemas.openxmlformats.org/officeDocument/2006/relationships/image" Target="../media/image8.png"/><Relationship Id="rId3" Type="http://schemas.openxmlformats.org/officeDocument/2006/relationships/image" Target="../media/image7.jpeg"/><Relationship Id="rId2" Type="http://schemas.openxmlformats.org/officeDocument/2006/relationships/image" Target="../media/image9.png"/><Relationship Id="rId1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4.xml"/><Relationship Id="rId6" Type="http://schemas.openxmlformats.org/officeDocument/2006/relationships/slideLayout" Target="../slideLayouts/slideLayout1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5.xml"/><Relationship Id="rId6" Type="http://schemas.openxmlformats.org/officeDocument/2006/relationships/slideLayout" Target="../slideLayouts/slideLayout12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6.xml"/><Relationship Id="rId6" Type="http://schemas.openxmlformats.org/officeDocument/2006/relationships/slideLayout" Target="../slideLayouts/slideLayout12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21.png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8.png"/><Relationship Id="rId3" Type="http://schemas.openxmlformats.org/officeDocument/2006/relationships/image" Target="../media/image7.jpeg"/><Relationship Id="rId2" Type="http://schemas.openxmlformats.org/officeDocument/2006/relationships/image" Target="../media/image9.png"/><Relationship Id="rId1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39"/>
          <a:stretch>
            <a:fillRect/>
          </a:stretch>
        </p:blipFill>
        <p:spPr>
          <a:xfrm>
            <a:off x="-5470" y="14514"/>
            <a:ext cx="9149470" cy="6843486"/>
          </a:xfrm>
          <a:prstGeom prst="rect">
            <a:avLst/>
          </a:prstGeom>
        </p:spPr>
      </p:pic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5" name="Слайд think-cell" r:id="rId3" imgW="9525" imgH="9525" progId="TCLayout.ActiveDocument.1">
                  <p:embed/>
                </p:oleObj>
              </mc:Choice>
              <mc:Fallback>
                <p:oleObj name="Слайд think-cell" r:id="rId3" imgW="9525" imgH="9525" progId="TCLayout.ActiveDocument.1">
                  <p:embed/>
                  <p:pic>
                    <p:nvPicPr>
                      <p:cNvPr id="0" name="Изображение 11059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 rot="10800000">
            <a:off x="3813" y="0"/>
            <a:ext cx="9144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38087" y="4634394"/>
            <a:ext cx="7662294" cy="292388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УППА КОМПАНИЙ «ПРОСВЕЩЕНИЕ» </a:t>
            </a:r>
            <a:endParaRPr lang="ru-RU" sz="20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9552" y="1409579"/>
            <a:ext cx="8496943" cy="1938655"/>
          </a:xfrm>
        </p:spPr>
        <p:txBody>
          <a:bodyPr wrap="square" lIns="0" tIns="0" rIns="0" bIns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altLang="ru-RU" sz="4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algun Gothic Semilight" panose="020B0502040204020203" charset="-122"/>
                <a:cs typeface="Arial" panose="020B0604020202020204" pitchFamily="34" charset="0"/>
              </a:rPr>
              <a:t>Формирование </a:t>
            </a:r>
            <a:r>
              <a:rPr lang="ru-RU" altLang="ru-RU" sz="4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algun Gothic Semilight" panose="020B0502040204020203" charset="-122"/>
                <a:cs typeface="Arial" panose="020B0604020202020204" pitchFamily="34" charset="0"/>
              </a:rPr>
              <a:t>функциональной </a:t>
            </a:r>
            <a:r>
              <a:rPr lang="ru-RU" altLang="ru-RU" sz="4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algun Gothic Semilight" panose="020B0502040204020203" charset="-122"/>
                <a:cs typeface="Arial" panose="020B0604020202020204" pitchFamily="34" charset="0"/>
              </a:rPr>
              <a:t>грамотности при </a:t>
            </a:r>
            <a:r>
              <a:rPr altLang="ru-RU" sz="4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algun Gothic Semilight" panose="020B0502040204020203" charset="-122"/>
                <a:cs typeface="Arial" panose="020B0604020202020204" pitchFamily="34" charset="0"/>
              </a:rPr>
              <a:t>обучении химии в школе</a:t>
            </a:r>
            <a:endParaRPr altLang="ru-RU" sz="4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Malgun Gothic Semilight" panose="020B0502040204020203" charset="-122"/>
              <a:cs typeface="Arial" panose="020B0604020202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7574683" y="300997"/>
            <a:ext cx="1125698" cy="51802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7338332" y="139004"/>
            <a:ext cx="15983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/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/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/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/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/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/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/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/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/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/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683568" y="6309320"/>
            <a:ext cx="5248404" cy="343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"Просвещение"», </a:t>
            </a:r>
            <a:r>
              <a:rPr lang="ru-RU" sz="800" dirty="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en-US" sz="800" dirty="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8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  <a:endParaRPr lang="ru-RU" sz="8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8" name="Заголовок 1"/>
          <p:cNvSpPr txBox="1"/>
          <p:nvPr/>
        </p:nvSpPr>
        <p:spPr>
          <a:xfrm>
            <a:off x="5364088" y="5157192"/>
            <a:ext cx="3719753" cy="87716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95000"/>
              </a:lnSpc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</a:t>
            </a: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тодист ЦМПП и ОО</a:t>
            </a: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r">
              <a:lnSpc>
                <a:spcPct val="95000"/>
              </a:lnSpc>
            </a:pPr>
            <a:r>
              <a:rPr lang="en-US" altLang="ru-RU" sz="2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.х.н</a:t>
            </a:r>
            <a:r>
              <a:rPr lang="en-US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Ольга Гарриевна Плечова</a:t>
            </a:r>
            <a:endParaRPr lang="en-US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r">
              <a:lnSpc>
                <a:spcPct val="95000"/>
              </a:lnSpc>
            </a:pPr>
            <a:endParaRPr 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Овал 108"/>
          <p:cNvSpPr/>
          <p:nvPr/>
        </p:nvSpPr>
        <p:spPr>
          <a:xfrm>
            <a:off x="3309231" y="2126612"/>
            <a:ext cx="2434056" cy="2502884"/>
          </a:xfrm>
          <a:prstGeom prst="ellipse">
            <a:avLst/>
          </a:prstGeom>
          <a:solidFill>
            <a:srgbClr val="2F5597">
              <a:alpha val="96000"/>
            </a:srgbClr>
          </a:solidFill>
          <a:ln w="25400">
            <a:solidFill>
              <a:srgbClr val="2F5597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sp>
        <p:nvSpPr>
          <p:cNvPr id="44" name="TextBox 43"/>
          <p:cNvSpPr txBox="1"/>
          <p:nvPr/>
        </p:nvSpPr>
        <p:spPr>
          <a:xfrm>
            <a:off x="2426482" y="88383"/>
            <a:ext cx="7236296" cy="12001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6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Концептуальная рамка оценки функциональной </a:t>
            </a:r>
            <a:r>
              <a:rPr kumimoji="0" lang="ru-RU" sz="26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грамотности </a:t>
            </a:r>
            <a:r>
              <a:rPr kumimoji="0" lang="ru-RU" sz="26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в исследовании </a:t>
            </a:r>
            <a:r>
              <a:rPr kumimoji="0" lang="ru-RU" sz="26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kumimoji="0" lang="en-US" sz="26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PISA</a:t>
            </a:r>
            <a:endParaRPr kumimoji="0" lang="ru-RU" sz="26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Овал 56"/>
          <p:cNvSpPr/>
          <p:nvPr/>
        </p:nvSpPr>
        <p:spPr>
          <a:xfrm>
            <a:off x="4059847" y="3600004"/>
            <a:ext cx="2568950" cy="2646558"/>
          </a:xfrm>
          <a:prstGeom prst="ellipse">
            <a:avLst/>
          </a:prstGeom>
          <a:solidFill>
            <a:srgbClr val="D64214">
              <a:alpha val="89804"/>
            </a:srgbClr>
          </a:solidFill>
          <a:ln w="38100">
            <a:solidFill>
              <a:srgbClr val="D6421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cxnSp>
        <p:nvCxnSpPr>
          <p:cNvPr id="5" name="Прямая со стрелкой 4"/>
          <p:cNvCxnSpPr>
            <a:stCxn id="47" idx="1"/>
          </p:cNvCxnSpPr>
          <p:nvPr/>
        </p:nvCxnSpPr>
        <p:spPr>
          <a:xfrm flipH="1" flipV="1">
            <a:off x="2339682" y="2729537"/>
            <a:ext cx="672409" cy="13152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>
            <a:stCxn id="47" idx="1"/>
          </p:cNvCxnSpPr>
          <p:nvPr/>
        </p:nvCxnSpPr>
        <p:spPr>
          <a:xfrm flipH="1" flipV="1">
            <a:off x="2219212" y="3553301"/>
            <a:ext cx="792879" cy="4915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>
            <a:stCxn id="47" idx="1"/>
          </p:cNvCxnSpPr>
          <p:nvPr/>
        </p:nvCxnSpPr>
        <p:spPr>
          <a:xfrm flipH="1">
            <a:off x="2426482" y="4044831"/>
            <a:ext cx="585609" cy="1859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>
            <a:off x="6145530" y="2695556"/>
            <a:ext cx="1245103" cy="4535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зделы математик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7401301" y="3387612"/>
            <a:ext cx="1597843" cy="606646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ели чтения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7450621" y="5211912"/>
            <a:ext cx="1655528" cy="100172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доровье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ресурсы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кружающая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еда,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язь науки и технологии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4" name="Прямая со стрелкой 23"/>
          <p:cNvCxnSpPr>
            <a:stCxn id="109" idx="7"/>
          </p:cNvCxnSpPr>
          <p:nvPr/>
        </p:nvCxnSpPr>
        <p:spPr>
          <a:xfrm flipV="1">
            <a:off x="5386828" y="1990711"/>
            <a:ext cx="913364" cy="5024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>
            <a:stCxn id="109" idx="7"/>
          </p:cNvCxnSpPr>
          <p:nvPr/>
        </p:nvCxnSpPr>
        <p:spPr>
          <a:xfrm flipV="1">
            <a:off x="5386828" y="2370727"/>
            <a:ext cx="2063793" cy="1224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>
            <a:stCxn id="109" idx="7"/>
            <a:endCxn id="66" idx="1"/>
          </p:cNvCxnSpPr>
          <p:nvPr/>
        </p:nvCxnSpPr>
        <p:spPr>
          <a:xfrm>
            <a:off x="5386828" y="2493151"/>
            <a:ext cx="758702" cy="4291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>
            <a:stCxn id="57" idx="6"/>
            <a:endCxn id="67" idx="1"/>
          </p:cNvCxnSpPr>
          <p:nvPr/>
        </p:nvCxnSpPr>
        <p:spPr>
          <a:xfrm flipV="1">
            <a:off x="6628797" y="3690935"/>
            <a:ext cx="772504" cy="12323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>
            <a:stCxn id="57" idx="6"/>
            <a:endCxn id="69" idx="1"/>
          </p:cNvCxnSpPr>
          <p:nvPr/>
        </p:nvCxnSpPr>
        <p:spPr>
          <a:xfrm>
            <a:off x="6628797" y="4923283"/>
            <a:ext cx="821824" cy="7894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 стрелкой 77"/>
          <p:cNvCxnSpPr>
            <a:stCxn id="57" idx="6"/>
          </p:cNvCxnSpPr>
          <p:nvPr/>
        </p:nvCxnSpPr>
        <p:spPr>
          <a:xfrm flipV="1">
            <a:off x="6628797" y="4716691"/>
            <a:ext cx="772504" cy="2065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>
            <a:off x="17554" y="1274490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рямоугольник 82"/>
          <p:cNvSpPr/>
          <p:nvPr/>
        </p:nvSpPr>
        <p:spPr>
          <a:xfrm>
            <a:off x="386080" y="4231005"/>
            <a:ext cx="2224405" cy="138747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авать научные объяснения,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менять естественно-научные методы исследования,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нтерпретировать данные,  делать выводы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3586608" y="2603157"/>
            <a:ext cx="205509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ельная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дель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5078325" y="4733990"/>
            <a:ext cx="1577734" cy="70788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нтексты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ли ситуации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3" name="Прямоугольник 102"/>
          <p:cNvSpPr/>
          <p:nvPr/>
        </p:nvSpPr>
        <p:spPr>
          <a:xfrm>
            <a:off x="784597" y="1380497"/>
            <a:ext cx="1959676" cy="1353439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ботать с информацией: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57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ходить и извлекать,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57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смысливать и оценивать,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57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нтерпретировать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4" name="Прямоугольник 103"/>
          <p:cNvSpPr/>
          <p:nvPr/>
        </p:nvSpPr>
        <p:spPr>
          <a:xfrm>
            <a:off x="7465673" y="2011915"/>
            <a:ext cx="1459253" cy="71762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-научные предметы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тодология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257163" y="2836459"/>
            <a:ext cx="1959676" cy="13534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ормулировать, применять интерпретировать и оценивать результаты с позиции математики и  реальной проблемы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7431329" y="4082878"/>
            <a:ext cx="1595471" cy="99544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р индивидуума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социума,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разования и наук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6175004" y="1537145"/>
            <a:ext cx="1245103" cy="453565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ипы текст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2644608" y="3661613"/>
            <a:ext cx="2509334" cy="2616778"/>
          </a:xfrm>
          <a:prstGeom prst="ellipse">
            <a:avLst/>
          </a:prstGeom>
          <a:solidFill>
            <a:srgbClr val="ED7D31">
              <a:alpha val="88000"/>
            </a:srgbClr>
          </a:solidFill>
          <a:ln w="25400">
            <a:solidFill>
              <a:srgbClr val="ED7D3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sp>
      <p:sp>
        <p:nvSpPr>
          <p:cNvPr id="61" name="Прямоугольник 60"/>
          <p:cNvSpPr/>
          <p:nvPr/>
        </p:nvSpPr>
        <p:spPr>
          <a:xfrm>
            <a:off x="2714811" y="4779868"/>
            <a:ext cx="222754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тностна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модель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4038640" y="4212852"/>
            <a:ext cx="1360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ЛОК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ДАНИЙ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69331" y="6028340"/>
            <a:ext cx="211370" cy="221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80701" y="6062333"/>
            <a:ext cx="212251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–научная грамотность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269331" y="6299190"/>
            <a:ext cx="211370" cy="22279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269331" y="5762722"/>
            <a:ext cx="211370" cy="215768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468503" y="5779100"/>
            <a:ext cx="212251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грамотность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480700" y="6299189"/>
            <a:ext cx="212251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 грамотность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73" name="Picture 8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54" y="218507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5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6787895"/>
            <a:ext cx="9144000" cy="70104"/>
          </a:xfrm>
          <a:prstGeom prst="rect">
            <a:avLst/>
          </a:prstGeom>
          <a:blipFill>
            <a:blip r:embed="rId1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sp>
        <p:nvSpPr>
          <p:cNvPr id="3" name="object 3"/>
          <p:cNvSpPr/>
          <p:nvPr/>
        </p:nvSpPr>
        <p:spPr>
          <a:xfrm>
            <a:off x="0" y="814536"/>
            <a:ext cx="9144000" cy="3808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sp>
        <p:nvSpPr>
          <p:cNvPr id="4" name="object 4"/>
          <p:cNvSpPr/>
          <p:nvPr/>
        </p:nvSpPr>
        <p:spPr>
          <a:xfrm>
            <a:off x="0" y="6486144"/>
            <a:ext cx="2807208" cy="37185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sp>
        <p:nvSpPr>
          <p:cNvPr id="5" name="object 5"/>
          <p:cNvSpPr/>
          <p:nvPr/>
        </p:nvSpPr>
        <p:spPr>
          <a:xfrm>
            <a:off x="0" y="3633698"/>
            <a:ext cx="41768" cy="5044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sp>
        <p:nvSpPr>
          <p:cNvPr id="6" name="object 6"/>
          <p:cNvSpPr/>
          <p:nvPr/>
        </p:nvSpPr>
        <p:spPr>
          <a:xfrm>
            <a:off x="0" y="1582686"/>
            <a:ext cx="44767" cy="5059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sp>
        <p:nvSpPr>
          <p:cNvPr id="7" name="object 7"/>
          <p:cNvSpPr txBox="1"/>
          <p:nvPr/>
        </p:nvSpPr>
        <p:spPr>
          <a:xfrm>
            <a:off x="162242" y="1363662"/>
            <a:ext cx="98742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Impact" panose="020B0806030902050204"/>
                <a:cs typeface="Impact" panose="020B0806030902050204"/>
              </a:rPr>
              <a:t>УМК</a:t>
            </a:r>
            <a:endParaRPr sz="1200">
              <a:latin typeface="Impact" panose="020B0806030902050204"/>
              <a:cs typeface="Impact" panose="020B0806030902050204"/>
            </a:endParaRPr>
          </a:p>
          <a:p>
            <a:pPr marL="12700" marR="5080" algn="ctr">
              <a:lnSpc>
                <a:spcPct val="100000"/>
              </a:lnSpc>
            </a:pPr>
            <a:r>
              <a:rPr sz="1200" spc="-5" dirty="0">
                <a:latin typeface="Impact" panose="020B0806030902050204"/>
                <a:cs typeface="Impact" panose="020B0806030902050204"/>
              </a:rPr>
              <a:t>Г.Е. Рудзитис  Ф.</a:t>
            </a:r>
            <a:r>
              <a:rPr sz="1200" dirty="0">
                <a:latin typeface="Impact" panose="020B0806030902050204"/>
                <a:cs typeface="Impact" panose="020B0806030902050204"/>
              </a:rPr>
              <a:t>Г</a:t>
            </a:r>
            <a:r>
              <a:rPr sz="1200" spc="-5" dirty="0">
                <a:latin typeface="Impact" panose="020B0806030902050204"/>
                <a:cs typeface="Impact" panose="020B0806030902050204"/>
              </a:rPr>
              <a:t>.Ф</a:t>
            </a:r>
            <a:r>
              <a:rPr sz="1200" dirty="0">
                <a:latin typeface="Impact" panose="020B0806030902050204"/>
                <a:cs typeface="Impact" panose="020B0806030902050204"/>
              </a:rPr>
              <a:t>ел</a:t>
            </a:r>
            <a:r>
              <a:rPr sz="1200" spc="-5" dirty="0">
                <a:latin typeface="Impact" panose="020B0806030902050204"/>
                <a:cs typeface="Impact" panose="020B0806030902050204"/>
              </a:rPr>
              <a:t>ь</a:t>
            </a:r>
            <a:r>
              <a:rPr sz="1200" dirty="0">
                <a:latin typeface="Impact" panose="020B0806030902050204"/>
                <a:cs typeface="Impact" panose="020B0806030902050204"/>
              </a:rPr>
              <a:t>дман</a:t>
            </a:r>
            <a:endParaRPr sz="1200">
              <a:latin typeface="Impact" panose="020B0806030902050204"/>
              <a:cs typeface="Impact" panose="020B0806030902050204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267200" y="3321050"/>
            <a:ext cx="2260600" cy="1211580"/>
          </a:xfrm>
          <a:custGeom>
            <a:avLst/>
            <a:gdLst/>
            <a:ahLst/>
            <a:cxnLst/>
            <a:rect l="l" t="t" r="r" b="b"/>
            <a:pathLst>
              <a:path w="2260600" h="1211579">
                <a:moveTo>
                  <a:pt x="2255837" y="1211262"/>
                </a:moveTo>
                <a:lnTo>
                  <a:pt x="4762" y="1211262"/>
                </a:lnTo>
                <a:lnTo>
                  <a:pt x="3289" y="1211033"/>
                </a:lnTo>
                <a:lnTo>
                  <a:pt x="1968" y="1210348"/>
                </a:lnTo>
                <a:lnTo>
                  <a:pt x="914" y="1209294"/>
                </a:lnTo>
                <a:lnTo>
                  <a:pt x="228" y="1207973"/>
                </a:lnTo>
                <a:lnTo>
                  <a:pt x="0" y="1206500"/>
                </a:lnTo>
                <a:lnTo>
                  <a:pt x="0" y="4762"/>
                </a:lnTo>
                <a:lnTo>
                  <a:pt x="4762" y="0"/>
                </a:lnTo>
                <a:lnTo>
                  <a:pt x="2255837" y="0"/>
                </a:lnTo>
                <a:lnTo>
                  <a:pt x="2260600" y="4762"/>
                </a:lnTo>
                <a:lnTo>
                  <a:pt x="9525" y="4762"/>
                </a:lnTo>
                <a:lnTo>
                  <a:pt x="4762" y="9525"/>
                </a:lnTo>
                <a:lnTo>
                  <a:pt x="9525" y="9525"/>
                </a:lnTo>
                <a:lnTo>
                  <a:pt x="9525" y="1201737"/>
                </a:lnTo>
                <a:lnTo>
                  <a:pt x="4762" y="1201737"/>
                </a:lnTo>
                <a:lnTo>
                  <a:pt x="9525" y="1206500"/>
                </a:lnTo>
                <a:lnTo>
                  <a:pt x="2260600" y="1206500"/>
                </a:lnTo>
                <a:lnTo>
                  <a:pt x="2260371" y="1207973"/>
                </a:lnTo>
                <a:lnTo>
                  <a:pt x="2259685" y="1209294"/>
                </a:lnTo>
                <a:lnTo>
                  <a:pt x="2258631" y="1210348"/>
                </a:lnTo>
                <a:lnTo>
                  <a:pt x="2257310" y="1211033"/>
                </a:lnTo>
                <a:lnTo>
                  <a:pt x="2255837" y="1211262"/>
                </a:lnTo>
                <a:close/>
              </a:path>
              <a:path w="2260600" h="1211579">
                <a:moveTo>
                  <a:pt x="9525" y="9525"/>
                </a:moveTo>
                <a:lnTo>
                  <a:pt x="4762" y="9525"/>
                </a:lnTo>
                <a:lnTo>
                  <a:pt x="9525" y="4762"/>
                </a:lnTo>
                <a:lnTo>
                  <a:pt x="9525" y="9525"/>
                </a:lnTo>
                <a:close/>
              </a:path>
              <a:path w="2260600" h="1211579">
                <a:moveTo>
                  <a:pt x="2251075" y="9525"/>
                </a:moveTo>
                <a:lnTo>
                  <a:pt x="9525" y="9525"/>
                </a:lnTo>
                <a:lnTo>
                  <a:pt x="9525" y="4762"/>
                </a:lnTo>
                <a:lnTo>
                  <a:pt x="2251075" y="4762"/>
                </a:lnTo>
                <a:lnTo>
                  <a:pt x="2251075" y="9525"/>
                </a:lnTo>
                <a:close/>
              </a:path>
              <a:path w="2260600" h="1211579">
                <a:moveTo>
                  <a:pt x="2251075" y="1206500"/>
                </a:moveTo>
                <a:lnTo>
                  <a:pt x="2251075" y="4762"/>
                </a:lnTo>
                <a:lnTo>
                  <a:pt x="2255837" y="9525"/>
                </a:lnTo>
                <a:lnTo>
                  <a:pt x="2260600" y="9525"/>
                </a:lnTo>
                <a:lnTo>
                  <a:pt x="2260600" y="1201737"/>
                </a:lnTo>
                <a:lnTo>
                  <a:pt x="2255837" y="1201737"/>
                </a:lnTo>
                <a:lnTo>
                  <a:pt x="2251075" y="1206500"/>
                </a:lnTo>
                <a:close/>
              </a:path>
              <a:path w="2260600" h="1211579">
                <a:moveTo>
                  <a:pt x="2260600" y="9525"/>
                </a:moveTo>
                <a:lnTo>
                  <a:pt x="2255837" y="9525"/>
                </a:lnTo>
                <a:lnTo>
                  <a:pt x="2251075" y="4762"/>
                </a:lnTo>
                <a:lnTo>
                  <a:pt x="2260600" y="4762"/>
                </a:lnTo>
                <a:lnTo>
                  <a:pt x="2260600" y="9525"/>
                </a:lnTo>
                <a:close/>
              </a:path>
              <a:path w="2260600" h="1211579">
                <a:moveTo>
                  <a:pt x="9525" y="1206500"/>
                </a:moveTo>
                <a:lnTo>
                  <a:pt x="4762" y="1201737"/>
                </a:lnTo>
                <a:lnTo>
                  <a:pt x="9525" y="1201737"/>
                </a:lnTo>
                <a:lnTo>
                  <a:pt x="9525" y="1206500"/>
                </a:lnTo>
                <a:close/>
              </a:path>
              <a:path w="2260600" h="1211579">
                <a:moveTo>
                  <a:pt x="2251075" y="1206500"/>
                </a:moveTo>
                <a:lnTo>
                  <a:pt x="9525" y="1206500"/>
                </a:lnTo>
                <a:lnTo>
                  <a:pt x="9525" y="1201737"/>
                </a:lnTo>
                <a:lnTo>
                  <a:pt x="2251075" y="1201737"/>
                </a:lnTo>
                <a:lnTo>
                  <a:pt x="2251075" y="1206500"/>
                </a:lnTo>
                <a:close/>
              </a:path>
              <a:path w="2260600" h="1211579">
                <a:moveTo>
                  <a:pt x="2260600" y="1206500"/>
                </a:moveTo>
                <a:lnTo>
                  <a:pt x="2251075" y="1206500"/>
                </a:lnTo>
                <a:lnTo>
                  <a:pt x="2255837" y="1201737"/>
                </a:lnTo>
                <a:lnTo>
                  <a:pt x="2260600" y="1201737"/>
                </a:lnTo>
                <a:lnTo>
                  <a:pt x="2260600" y="1206500"/>
                </a:lnTo>
                <a:close/>
              </a:path>
            </a:pathLst>
          </a:custGeom>
          <a:solidFill>
            <a:srgbClr val="525252"/>
          </a:solidFill>
        </p:spPr>
        <p:txBody>
          <a:bodyPr wrap="square" lIns="0" tIns="0" rIns="0" bIns="0" rtlCol="0"/>
          <a:lstStyle/>
          <a:p/>
        </p:txBody>
      </p:sp>
      <p:sp>
        <p:nvSpPr>
          <p:cNvPr id="9" name="object 9"/>
          <p:cNvSpPr txBox="1"/>
          <p:nvPr/>
        </p:nvSpPr>
        <p:spPr>
          <a:xfrm>
            <a:off x="5161597" y="3612832"/>
            <a:ext cx="673735" cy="425450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58420" marR="5080" indent="-45720">
              <a:lnSpc>
                <a:spcPct val="102000"/>
              </a:lnSpc>
              <a:spcBef>
                <a:spcPts val="60"/>
              </a:spcBef>
            </a:pPr>
            <a:r>
              <a:rPr sz="1300" spc="-5" dirty="0">
                <a:latin typeface="Impact" panose="020B0806030902050204"/>
                <a:cs typeface="Impact" panose="020B0806030902050204"/>
              </a:rPr>
              <a:t>Базовый  </a:t>
            </a:r>
            <a:r>
              <a:rPr sz="1300" spc="-5" dirty="0">
                <a:latin typeface="Impact" panose="020B0806030902050204"/>
                <a:cs typeface="Impact" panose="020B0806030902050204"/>
              </a:rPr>
              <a:t>уровень</a:t>
            </a:r>
            <a:endParaRPr sz="1300">
              <a:latin typeface="Impact" panose="020B0806030902050204"/>
              <a:cs typeface="Impact" panose="020B0806030902050204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078854" y="1295399"/>
            <a:ext cx="264160" cy="1943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00" spc="-5" dirty="0">
                <a:latin typeface="Impact" panose="020B0806030902050204"/>
                <a:cs typeface="Impact" panose="020B0806030902050204"/>
              </a:rPr>
              <a:t>УМ</a:t>
            </a:r>
            <a:r>
              <a:rPr sz="1100" dirty="0">
                <a:latin typeface="Impact" panose="020B0806030902050204"/>
                <a:cs typeface="Impact" panose="020B0806030902050204"/>
              </a:rPr>
              <a:t>К</a:t>
            </a:r>
            <a:endParaRPr sz="1100">
              <a:latin typeface="Impact" panose="020B0806030902050204"/>
              <a:cs typeface="Impact" panose="020B0806030902050204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788659" y="1630680"/>
            <a:ext cx="845185" cy="5295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065" marR="5080" indent="-635" algn="ctr">
              <a:lnSpc>
                <a:spcPct val="100000"/>
              </a:lnSpc>
              <a:spcBef>
                <a:spcPts val="105"/>
              </a:spcBef>
            </a:pPr>
            <a:r>
              <a:rPr sz="1100" spc="-5" dirty="0">
                <a:latin typeface="Impact" panose="020B0806030902050204"/>
                <a:cs typeface="Impact" panose="020B0806030902050204"/>
              </a:rPr>
              <a:t>С. А. ПУЗАКОВ  Н.В.</a:t>
            </a:r>
            <a:r>
              <a:rPr sz="1100" spc="-60" dirty="0">
                <a:latin typeface="Impact" panose="020B0806030902050204"/>
                <a:cs typeface="Impact" panose="020B0806030902050204"/>
              </a:rPr>
              <a:t> </a:t>
            </a:r>
            <a:r>
              <a:rPr sz="1100" spc="-5" dirty="0">
                <a:latin typeface="Impact" panose="020B0806030902050204"/>
                <a:cs typeface="Impact" panose="020B0806030902050204"/>
              </a:rPr>
              <a:t>МАШНИНА  В.А.</a:t>
            </a:r>
            <a:r>
              <a:rPr sz="1100" spc="-20" dirty="0">
                <a:latin typeface="Impact" panose="020B0806030902050204"/>
                <a:cs typeface="Impact" panose="020B0806030902050204"/>
              </a:rPr>
              <a:t> </a:t>
            </a:r>
            <a:r>
              <a:rPr sz="1100" spc="-5" dirty="0">
                <a:latin typeface="Impact" panose="020B0806030902050204"/>
                <a:cs typeface="Impact" panose="020B0806030902050204"/>
              </a:rPr>
              <a:t>ПОПКОВ</a:t>
            </a:r>
            <a:endParaRPr sz="1100">
              <a:latin typeface="Impact" panose="020B0806030902050204"/>
              <a:cs typeface="Impact" panose="020B0806030902050204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633652" y="874712"/>
            <a:ext cx="836930" cy="3619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68910" marR="5080" indent="-156845">
              <a:lnSpc>
                <a:spcPct val="100000"/>
              </a:lnSpc>
              <a:spcBef>
                <a:spcPts val="105"/>
              </a:spcBef>
            </a:pPr>
            <a:r>
              <a:rPr sz="1100" spc="-5" dirty="0">
                <a:latin typeface="Impact" panose="020B0806030902050204"/>
                <a:cs typeface="Impact" panose="020B0806030902050204"/>
              </a:rPr>
              <a:t>Углублённы</a:t>
            </a:r>
            <a:r>
              <a:rPr sz="1100" dirty="0">
                <a:latin typeface="Impact" panose="020B0806030902050204"/>
                <a:cs typeface="Impact" panose="020B0806030902050204"/>
              </a:rPr>
              <a:t>й  </a:t>
            </a:r>
            <a:r>
              <a:rPr sz="1100" spc="-5" dirty="0">
                <a:latin typeface="Impact" panose="020B0806030902050204"/>
                <a:cs typeface="Impact" panose="020B0806030902050204"/>
              </a:rPr>
              <a:t>уровень</a:t>
            </a:r>
            <a:endParaRPr sz="1100">
              <a:latin typeface="Impact" panose="020B0806030902050204"/>
              <a:cs typeface="Impact" panose="020B0806030902050204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0" y="5411736"/>
            <a:ext cx="39814" cy="5059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sp>
        <p:nvSpPr>
          <p:cNvPr id="14" name="object 14"/>
          <p:cNvSpPr txBox="1"/>
          <p:nvPr/>
        </p:nvSpPr>
        <p:spPr>
          <a:xfrm>
            <a:off x="4511040" y="5408612"/>
            <a:ext cx="62420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0005" marR="5080" indent="-27305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Impact" panose="020B0806030902050204"/>
                <a:cs typeface="Impact" panose="020B0806030902050204"/>
              </a:rPr>
              <a:t>Б</a:t>
            </a:r>
            <a:r>
              <a:rPr sz="1200" dirty="0">
                <a:latin typeface="Impact" panose="020B0806030902050204"/>
                <a:cs typeface="Impact" panose="020B0806030902050204"/>
              </a:rPr>
              <a:t>а</a:t>
            </a:r>
            <a:r>
              <a:rPr sz="1200" spc="-5" dirty="0">
                <a:latin typeface="Impact" panose="020B0806030902050204"/>
                <a:cs typeface="Impact" panose="020B0806030902050204"/>
              </a:rPr>
              <a:t>з</a:t>
            </a:r>
            <a:r>
              <a:rPr sz="1200" dirty="0">
                <a:latin typeface="Impact" panose="020B0806030902050204"/>
                <a:cs typeface="Impact" panose="020B0806030902050204"/>
              </a:rPr>
              <a:t>о</a:t>
            </a:r>
            <a:r>
              <a:rPr sz="1200" spc="-5" dirty="0">
                <a:latin typeface="Impact" panose="020B0806030902050204"/>
                <a:cs typeface="Impact" panose="020B0806030902050204"/>
              </a:rPr>
              <a:t>вы</a:t>
            </a:r>
            <a:r>
              <a:rPr sz="1200" dirty="0">
                <a:latin typeface="Impact" panose="020B0806030902050204"/>
                <a:cs typeface="Impact" panose="020B0806030902050204"/>
              </a:rPr>
              <a:t>й  </a:t>
            </a:r>
            <a:r>
              <a:rPr sz="1200" spc="-5" dirty="0">
                <a:latin typeface="Impact" panose="020B0806030902050204"/>
                <a:cs typeface="Impact" panose="020B0806030902050204"/>
              </a:rPr>
              <a:t>уровень</a:t>
            </a:r>
            <a:endParaRPr sz="1200">
              <a:latin typeface="Impact" panose="020B0806030902050204"/>
              <a:cs typeface="Impact" panose="020B0806030902050204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xfrm>
            <a:off x="2347595" y="32703"/>
            <a:ext cx="6511290" cy="718185"/>
          </a:xfrm>
          <a:prstGeom prst="rect">
            <a:avLst/>
          </a:prstGeom>
        </p:spPr>
        <p:txBody>
          <a:bodyPr vert="horz" wrap="square" lIns="0" tIns="53975" rIns="0" bIns="0" rtlCol="0">
            <a:spAutoFit/>
          </a:bodyPr>
          <a:lstStyle/>
          <a:p>
            <a:pPr marL="12700" marR="5080" indent="1009015" algn="l">
              <a:lnSpc>
                <a:spcPts val="2590"/>
              </a:lnSpc>
              <a:spcBef>
                <a:spcPts val="425"/>
              </a:spcBef>
              <a:tabLst>
                <a:tab pos="2203450" algn="l"/>
              </a:tabLst>
            </a:pPr>
            <a:r>
              <a:rPr lang="ru-RU" sz="2600" b="1" kern="1200" spc="-4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Линии УМК в составе  Федерального перечня учебников</a:t>
            </a:r>
            <a:endParaRPr lang="ru-RU" sz="2600" b="1" kern="1200" spc="-4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725862" y="849947"/>
            <a:ext cx="326517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Приказ № </a:t>
            </a:r>
            <a:r>
              <a:rPr sz="1800" b="1" spc="-5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345 </a:t>
            </a:r>
            <a:r>
              <a:rPr sz="1800" b="1" spc="-25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от</a:t>
            </a:r>
            <a:r>
              <a:rPr sz="1800" b="1" spc="-80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 </a:t>
            </a:r>
            <a:r>
              <a:rPr sz="1800" b="1" spc="-5" dirty="0">
                <a:solidFill>
                  <a:srgbClr val="FF0000"/>
                </a:solidFill>
                <a:latin typeface="Arial" panose="020B0604020202020204"/>
                <a:cs typeface="Arial" panose="020B0604020202020204"/>
              </a:rPr>
              <a:t>28.12.2018г</a:t>
            </a:r>
            <a:r>
              <a:rPr sz="1800" b="1" spc="-5" dirty="0">
                <a:solidFill>
                  <a:srgbClr val="294690"/>
                </a:solidFill>
                <a:latin typeface="Arial" panose="020B0604020202020204"/>
                <a:cs typeface="Arial" panose="020B0604020202020204"/>
              </a:rPr>
              <a:t>.</a:t>
            </a:r>
            <a:endParaRPr sz="1800">
              <a:latin typeface="Arial" panose="020B0604020202020204"/>
              <a:cs typeface="Arial" panose="020B0604020202020204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1289050" y="1274127"/>
            <a:ext cx="2078989" cy="1358900"/>
            <a:chOff x="1289050" y="1274127"/>
            <a:chExt cx="2078989" cy="1358900"/>
          </a:xfrm>
        </p:grpSpPr>
        <p:sp>
          <p:nvSpPr>
            <p:cNvPr id="18" name="object 18"/>
            <p:cNvSpPr/>
            <p:nvPr/>
          </p:nvSpPr>
          <p:spPr>
            <a:xfrm>
              <a:off x="1289050" y="1283334"/>
              <a:ext cx="1059281" cy="1349628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19" name="object 19"/>
            <p:cNvSpPr/>
            <p:nvPr/>
          </p:nvSpPr>
          <p:spPr>
            <a:xfrm>
              <a:off x="2292350" y="1274127"/>
              <a:ext cx="1075689" cy="133205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</p:grpSp>
      <p:grpSp>
        <p:nvGrpSpPr>
          <p:cNvPr id="20" name="object 20"/>
          <p:cNvGrpSpPr/>
          <p:nvPr/>
        </p:nvGrpSpPr>
        <p:grpSpPr>
          <a:xfrm>
            <a:off x="3588702" y="1250950"/>
            <a:ext cx="2070735" cy="1399540"/>
            <a:chOff x="3588702" y="1250950"/>
            <a:chExt cx="2070735" cy="1399540"/>
          </a:xfrm>
        </p:grpSpPr>
        <p:sp>
          <p:nvSpPr>
            <p:cNvPr id="21" name="object 21"/>
            <p:cNvSpPr/>
            <p:nvPr/>
          </p:nvSpPr>
          <p:spPr>
            <a:xfrm>
              <a:off x="3588702" y="1263650"/>
              <a:ext cx="1105941" cy="1386217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22" name="object 22"/>
            <p:cNvSpPr/>
            <p:nvPr/>
          </p:nvSpPr>
          <p:spPr>
            <a:xfrm>
              <a:off x="4603750" y="1250950"/>
              <a:ext cx="1055573" cy="1360614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</p:grpSp>
      <p:grpSp>
        <p:nvGrpSpPr>
          <p:cNvPr id="23" name="object 23"/>
          <p:cNvGrpSpPr/>
          <p:nvPr/>
        </p:nvGrpSpPr>
        <p:grpSpPr>
          <a:xfrm>
            <a:off x="6780276" y="1214627"/>
            <a:ext cx="2364105" cy="1440180"/>
            <a:chOff x="6780276" y="1214627"/>
            <a:chExt cx="2364105" cy="1440180"/>
          </a:xfrm>
        </p:grpSpPr>
        <p:sp>
          <p:nvSpPr>
            <p:cNvPr id="24" name="object 24"/>
            <p:cNvSpPr/>
            <p:nvPr/>
          </p:nvSpPr>
          <p:spPr>
            <a:xfrm>
              <a:off x="6780276" y="1214627"/>
              <a:ext cx="1089659" cy="1440179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25" name="object 25"/>
            <p:cNvSpPr/>
            <p:nvPr/>
          </p:nvSpPr>
          <p:spPr>
            <a:xfrm>
              <a:off x="7930896" y="1217675"/>
              <a:ext cx="1091183" cy="1417320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26" name="object 26"/>
            <p:cNvSpPr/>
            <p:nvPr/>
          </p:nvSpPr>
          <p:spPr>
            <a:xfrm>
              <a:off x="6830568" y="1591055"/>
              <a:ext cx="1150620" cy="987551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27" name="object 27"/>
            <p:cNvSpPr/>
            <p:nvPr/>
          </p:nvSpPr>
          <p:spPr>
            <a:xfrm>
              <a:off x="8167116" y="1652015"/>
              <a:ext cx="976883" cy="987551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</p:grpSp>
      <p:grpSp>
        <p:nvGrpSpPr>
          <p:cNvPr id="28" name="object 28"/>
          <p:cNvGrpSpPr/>
          <p:nvPr/>
        </p:nvGrpSpPr>
        <p:grpSpPr>
          <a:xfrm>
            <a:off x="362496" y="2889288"/>
            <a:ext cx="1160145" cy="1598930"/>
            <a:chOff x="362496" y="2889288"/>
            <a:chExt cx="1160145" cy="1598930"/>
          </a:xfrm>
        </p:grpSpPr>
        <p:sp>
          <p:nvSpPr>
            <p:cNvPr id="29" name="object 29"/>
            <p:cNvSpPr/>
            <p:nvPr/>
          </p:nvSpPr>
          <p:spPr>
            <a:xfrm>
              <a:off x="371855" y="2898648"/>
              <a:ext cx="1080516" cy="1531619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30" name="object 30"/>
            <p:cNvSpPr/>
            <p:nvPr/>
          </p:nvSpPr>
          <p:spPr>
            <a:xfrm>
              <a:off x="362496" y="2889288"/>
              <a:ext cx="1099820" cy="1550670"/>
            </a:xfrm>
            <a:custGeom>
              <a:avLst/>
              <a:gdLst/>
              <a:ahLst/>
              <a:cxnLst/>
              <a:rect l="l" t="t" r="r" b="b"/>
              <a:pathLst>
                <a:path w="1099820" h="1550670">
                  <a:moveTo>
                    <a:pt x="1099235" y="1550339"/>
                  </a:moveTo>
                  <a:lnTo>
                    <a:pt x="0" y="1550339"/>
                  </a:lnTo>
                  <a:lnTo>
                    <a:pt x="0" y="0"/>
                  </a:lnTo>
                  <a:lnTo>
                    <a:pt x="1099235" y="0"/>
                  </a:lnTo>
                  <a:lnTo>
                    <a:pt x="1099235" y="4673"/>
                  </a:lnTo>
                  <a:lnTo>
                    <a:pt x="9359" y="4673"/>
                  </a:lnTo>
                  <a:lnTo>
                    <a:pt x="4673" y="9359"/>
                  </a:lnTo>
                  <a:lnTo>
                    <a:pt x="9359" y="9359"/>
                  </a:lnTo>
                  <a:lnTo>
                    <a:pt x="9359" y="1540979"/>
                  </a:lnTo>
                  <a:lnTo>
                    <a:pt x="4673" y="1540979"/>
                  </a:lnTo>
                  <a:lnTo>
                    <a:pt x="9359" y="1545653"/>
                  </a:lnTo>
                  <a:lnTo>
                    <a:pt x="1099235" y="1545653"/>
                  </a:lnTo>
                  <a:lnTo>
                    <a:pt x="1099235" y="1550339"/>
                  </a:lnTo>
                  <a:close/>
                </a:path>
                <a:path w="1099820" h="1550670">
                  <a:moveTo>
                    <a:pt x="9359" y="9359"/>
                  </a:moveTo>
                  <a:lnTo>
                    <a:pt x="4673" y="9359"/>
                  </a:lnTo>
                  <a:lnTo>
                    <a:pt x="9359" y="4673"/>
                  </a:lnTo>
                  <a:lnTo>
                    <a:pt x="9359" y="9359"/>
                  </a:lnTo>
                  <a:close/>
                </a:path>
                <a:path w="1099820" h="1550670">
                  <a:moveTo>
                    <a:pt x="1089875" y="9359"/>
                  </a:moveTo>
                  <a:lnTo>
                    <a:pt x="9359" y="9359"/>
                  </a:lnTo>
                  <a:lnTo>
                    <a:pt x="9359" y="4673"/>
                  </a:lnTo>
                  <a:lnTo>
                    <a:pt x="1089875" y="4673"/>
                  </a:lnTo>
                  <a:lnTo>
                    <a:pt x="1089875" y="9359"/>
                  </a:lnTo>
                  <a:close/>
                </a:path>
                <a:path w="1099820" h="1550670">
                  <a:moveTo>
                    <a:pt x="1089875" y="1545653"/>
                  </a:moveTo>
                  <a:lnTo>
                    <a:pt x="1089875" y="4673"/>
                  </a:lnTo>
                  <a:lnTo>
                    <a:pt x="1094562" y="9359"/>
                  </a:lnTo>
                  <a:lnTo>
                    <a:pt x="1099235" y="9359"/>
                  </a:lnTo>
                  <a:lnTo>
                    <a:pt x="1099235" y="1540979"/>
                  </a:lnTo>
                  <a:lnTo>
                    <a:pt x="1094562" y="1540979"/>
                  </a:lnTo>
                  <a:lnTo>
                    <a:pt x="1089875" y="1545653"/>
                  </a:lnTo>
                  <a:close/>
                </a:path>
                <a:path w="1099820" h="1550670">
                  <a:moveTo>
                    <a:pt x="1099235" y="9359"/>
                  </a:moveTo>
                  <a:lnTo>
                    <a:pt x="1094562" y="9359"/>
                  </a:lnTo>
                  <a:lnTo>
                    <a:pt x="1089875" y="4673"/>
                  </a:lnTo>
                  <a:lnTo>
                    <a:pt x="1099235" y="4673"/>
                  </a:lnTo>
                  <a:lnTo>
                    <a:pt x="1099235" y="9359"/>
                  </a:lnTo>
                  <a:close/>
                </a:path>
                <a:path w="1099820" h="1550670">
                  <a:moveTo>
                    <a:pt x="9359" y="1545653"/>
                  </a:moveTo>
                  <a:lnTo>
                    <a:pt x="4673" y="1540979"/>
                  </a:lnTo>
                  <a:lnTo>
                    <a:pt x="9359" y="1540979"/>
                  </a:lnTo>
                  <a:lnTo>
                    <a:pt x="9359" y="1545653"/>
                  </a:lnTo>
                  <a:close/>
                </a:path>
                <a:path w="1099820" h="1550670">
                  <a:moveTo>
                    <a:pt x="1089875" y="1545653"/>
                  </a:moveTo>
                  <a:lnTo>
                    <a:pt x="9359" y="1545653"/>
                  </a:lnTo>
                  <a:lnTo>
                    <a:pt x="9359" y="1540979"/>
                  </a:lnTo>
                  <a:lnTo>
                    <a:pt x="1089875" y="1540979"/>
                  </a:lnTo>
                  <a:lnTo>
                    <a:pt x="1089875" y="1545653"/>
                  </a:lnTo>
                  <a:close/>
                </a:path>
                <a:path w="1099820" h="1550670">
                  <a:moveTo>
                    <a:pt x="1099235" y="1545653"/>
                  </a:moveTo>
                  <a:lnTo>
                    <a:pt x="1089875" y="1545653"/>
                  </a:lnTo>
                  <a:lnTo>
                    <a:pt x="1094562" y="1540979"/>
                  </a:lnTo>
                  <a:lnTo>
                    <a:pt x="1099235" y="1540979"/>
                  </a:lnTo>
                  <a:lnTo>
                    <a:pt x="1099235" y="1545653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/>
          </p:txBody>
        </p:sp>
        <p:sp>
          <p:nvSpPr>
            <p:cNvPr id="31" name="object 31"/>
            <p:cNvSpPr/>
            <p:nvPr/>
          </p:nvSpPr>
          <p:spPr>
            <a:xfrm>
              <a:off x="371855" y="3243072"/>
              <a:ext cx="1150620" cy="1245108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</p:grpSp>
      <p:grpSp>
        <p:nvGrpSpPr>
          <p:cNvPr id="32" name="object 32"/>
          <p:cNvGrpSpPr/>
          <p:nvPr/>
        </p:nvGrpSpPr>
        <p:grpSpPr>
          <a:xfrm>
            <a:off x="2586012" y="2820708"/>
            <a:ext cx="4696460" cy="1835150"/>
            <a:chOff x="2586012" y="2820708"/>
            <a:chExt cx="4696460" cy="1835150"/>
          </a:xfrm>
        </p:grpSpPr>
        <p:sp>
          <p:nvSpPr>
            <p:cNvPr id="33" name="object 33"/>
            <p:cNvSpPr/>
            <p:nvPr/>
          </p:nvSpPr>
          <p:spPr>
            <a:xfrm>
              <a:off x="2595372" y="2834639"/>
              <a:ext cx="1107948" cy="1533143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34" name="object 34"/>
            <p:cNvSpPr/>
            <p:nvPr/>
          </p:nvSpPr>
          <p:spPr>
            <a:xfrm>
              <a:off x="2586012" y="2825280"/>
              <a:ext cx="1127125" cy="1551940"/>
            </a:xfrm>
            <a:custGeom>
              <a:avLst/>
              <a:gdLst/>
              <a:ahLst/>
              <a:cxnLst/>
              <a:rect l="l" t="t" r="r" b="b"/>
              <a:pathLst>
                <a:path w="1127125" h="1551939">
                  <a:moveTo>
                    <a:pt x="1126667" y="1551863"/>
                  </a:moveTo>
                  <a:lnTo>
                    <a:pt x="0" y="1551863"/>
                  </a:lnTo>
                  <a:lnTo>
                    <a:pt x="0" y="0"/>
                  </a:lnTo>
                  <a:lnTo>
                    <a:pt x="1126667" y="0"/>
                  </a:lnTo>
                  <a:lnTo>
                    <a:pt x="1126667" y="4673"/>
                  </a:lnTo>
                  <a:lnTo>
                    <a:pt x="9359" y="4673"/>
                  </a:lnTo>
                  <a:lnTo>
                    <a:pt x="4686" y="9359"/>
                  </a:lnTo>
                  <a:lnTo>
                    <a:pt x="9359" y="9359"/>
                  </a:lnTo>
                  <a:lnTo>
                    <a:pt x="9359" y="1542503"/>
                  </a:lnTo>
                  <a:lnTo>
                    <a:pt x="4686" y="1542503"/>
                  </a:lnTo>
                  <a:lnTo>
                    <a:pt x="9359" y="1547177"/>
                  </a:lnTo>
                  <a:lnTo>
                    <a:pt x="1126667" y="1547177"/>
                  </a:lnTo>
                  <a:lnTo>
                    <a:pt x="1126667" y="1551863"/>
                  </a:lnTo>
                  <a:close/>
                </a:path>
                <a:path w="1127125" h="1551939">
                  <a:moveTo>
                    <a:pt x="9359" y="9359"/>
                  </a:moveTo>
                  <a:lnTo>
                    <a:pt x="4686" y="9359"/>
                  </a:lnTo>
                  <a:lnTo>
                    <a:pt x="9359" y="4673"/>
                  </a:lnTo>
                  <a:lnTo>
                    <a:pt x="9359" y="9359"/>
                  </a:lnTo>
                  <a:close/>
                </a:path>
                <a:path w="1127125" h="1551939">
                  <a:moveTo>
                    <a:pt x="1117307" y="9359"/>
                  </a:moveTo>
                  <a:lnTo>
                    <a:pt x="9359" y="9359"/>
                  </a:lnTo>
                  <a:lnTo>
                    <a:pt x="9359" y="4673"/>
                  </a:lnTo>
                  <a:lnTo>
                    <a:pt x="1117307" y="4673"/>
                  </a:lnTo>
                  <a:lnTo>
                    <a:pt x="1117307" y="9359"/>
                  </a:lnTo>
                  <a:close/>
                </a:path>
                <a:path w="1127125" h="1551939">
                  <a:moveTo>
                    <a:pt x="1117307" y="1547177"/>
                  </a:moveTo>
                  <a:lnTo>
                    <a:pt x="1117307" y="4673"/>
                  </a:lnTo>
                  <a:lnTo>
                    <a:pt x="1121994" y="9359"/>
                  </a:lnTo>
                  <a:lnTo>
                    <a:pt x="1126667" y="9359"/>
                  </a:lnTo>
                  <a:lnTo>
                    <a:pt x="1126667" y="1542503"/>
                  </a:lnTo>
                  <a:lnTo>
                    <a:pt x="1121994" y="1542503"/>
                  </a:lnTo>
                  <a:lnTo>
                    <a:pt x="1117307" y="1547177"/>
                  </a:lnTo>
                  <a:close/>
                </a:path>
                <a:path w="1127125" h="1551939">
                  <a:moveTo>
                    <a:pt x="1126667" y="9359"/>
                  </a:moveTo>
                  <a:lnTo>
                    <a:pt x="1121994" y="9359"/>
                  </a:lnTo>
                  <a:lnTo>
                    <a:pt x="1117307" y="4673"/>
                  </a:lnTo>
                  <a:lnTo>
                    <a:pt x="1126667" y="4673"/>
                  </a:lnTo>
                  <a:lnTo>
                    <a:pt x="1126667" y="9359"/>
                  </a:lnTo>
                  <a:close/>
                </a:path>
                <a:path w="1127125" h="1551939">
                  <a:moveTo>
                    <a:pt x="9359" y="1547177"/>
                  </a:moveTo>
                  <a:lnTo>
                    <a:pt x="4686" y="1542503"/>
                  </a:lnTo>
                  <a:lnTo>
                    <a:pt x="9359" y="1542503"/>
                  </a:lnTo>
                  <a:lnTo>
                    <a:pt x="9359" y="1547177"/>
                  </a:lnTo>
                  <a:close/>
                </a:path>
                <a:path w="1127125" h="1551939">
                  <a:moveTo>
                    <a:pt x="1117307" y="1547177"/>
                  </a:moveTo>
                  <a:lnTo>
                    <a:pt x="9359" y="1547177"/>
                  </a:lnTo>
                  <a:lnTo>
                    <a:pt x="9359" y="1542503"/>
                  </a:lnTo>
                  <a:lnTo>
                    <a:pt x="1117307" y="1542503"/>
                  </a:lnTo>
                  <a:lnTo>
                    <a:pt x="1117307" y="1547177"/>
                  </a:lnTo>
                  <a:close/>
                </a:path>
                <a:path w="1127125" h="1551939">
                  <a:moveTo>
                    <a:pt x="1126667" y="1547177"/>
                  </a:moveTo>
                  <a:lnTo>
                    <a:pt x="1117307" y="1547177"/>
                  </a:lnTo>
                  <a:lnTo>
                    <a:pt x="1121994" y="1542503"/>
                  </a:lnTo>
                  <a:lnTo>
                    <a:pt x="1126667" y="1542503"/>
                  </a:lnTo>
                  <a:lnTo>
                    <a:pt x="1126667" y="154717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/>
          </p:txBody>
        </p:sp>
        <p:sp>
          <p:nvSpPr>
            <p:cNvPr id="35" name="object 35"/>
            <p:cNvSpPr/>
            <p:nvPr/>
          </p:nvSpPr>
          <p:spPr>
            <a:xfrm>
              <a:off x="3755136" y="2830067"/>
              <a:ext cx="1184148" cy="1563624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36" name="object 36"/>
            <p:cNvSpPr/>
            <p:nvPr/>
          </p:nvSpPr>
          <p:spPr>
            <a:xfrm>
              <a:off x="3745776" y="2820708"/>
              <a:ext cx="1203325" cy="1582420"/>
            </a:xfrm>
            <a:custGeom>
              <a:avLst/>
              <a:gdLst/>
              <a:ahLst/>
              <a:cxnLst/>
              <a:rect l="l" t="t" r="r" b="b"/>
              <a:pathLst>
                <a:path w="1203325" h="1582420">
                  <a:moveTo>
                    <a:pt x="1202867" y="1582343"/>
                  </a:moveTo>
                  <a:lnTo>
                    <a:pt x="0" y="1582343"/>
                  </a:lnTo>
                  <a:lnTo>
                    <a:pt x="0" y="0"/>
                  </a:lnTo>
                  <a:lnTo>
                    <a:pt x="1202867" y="0"/>
                  </a:lnTo>
                  <a:lnTo>
                    <a:pt x="1202867" y="4673"/>
                  </a:lnTo>
                  <a:lnTo>
                    <a:pt x="9359" y="4673"/>
                  </a:lnTo>
                  <a:lnTo>
                    <a:pt x="4673" y="9359"/>
                  </a:lnTo>
                  <a:lnTo>
                    <a:pt x="9359" y="9359"/>
                  </a:lnTo>
                  <a:lnTo>
                    <a:pt x="9359" y="1572983"/>
                  </a:lnTo>
                  <a:lnTo>
                    <a:pt x="4673" y="1572983"/>
                  </a:lnTo>
                  <a:lnTo>
                    <a:pt x="9359" y="1577657"/>
                  </a:lnTo>
                  <a:lnTo>
                    <a:pt x="1202867" y="1577657"/>
                  </a:lnTo>
                  <a:lnTo>
                    <a:pt x="1202867" y="1582343"/>
                  </a:lnTo>
                  <a:close/>
                </a:path>
                <a:path w="1203325" h="1582420">
                  <a:moveTo>
                    <a:pt x="9359" y="9359"/>
                  </a:moveTo>
                  <a:lnTo>
                    <a:pt x="4673" y="9359"/>
                  </a:lnTo>
                  <a:lnTo>
                    <a:pt x="9359" y="4673"/>
                  </a:lnTo>
                  <a:lnTo>
                    <a:pt x="9359" y="9359"/>
                  </a:lnTo>
                  <a:close/>
                </a:path>
                <a:path w="1203325" h="1582420">
                  <a:moveTo>
                    <a:pt x="1193507" y="9359"/>
                  </a:moveTo>
                  <a:lnTo>
                    <a:pt x="9359" y="9359"/>
                  </a:lnTo>
                  <a:lnTo>
                    <a:pt x="9359" y="4673"/>
                  </a:lnTo>
                  <a:lnTo>
                    <a:pt x="1193507" y="4673"/>
                  </a:lnTo>
                  <a:lnTo>
                    <a:pt x="1193507" y="9359"/>
                  </a:lnTo>
                  <a:close/>
                </a:path>
                <a:path w="1203325" h="1582420">
                  <a:moveTo>
                    <a:pt x="1193507" y="1577657"/>
                  </a:moveTo>
                  <a:lnTo>
                    <a:pt x="1193507" y="4673"/>
                  </a:lnTo>
                  <a:lnTo>
                    <a:pt x="1198181" y="9359"/>
                  </a:lnTo>
                  <a:lnTo>
                    <a:pt x="1202867" y="9359"/>
                  </a:lnTo>
                  <a:lnTo>
                    <a:pt x="1202867" y="1572983"/>
                  </a:lnTo>
                  <a:lnTo>
                    <a:pt x="1198181" y="1572983"/>
                  </a:lnTo>
                  <a:lnTo>
                    <a:pt x="1193507" y="1577657"/>
                  </a:lnTo>
                  <a:close/>
                </a:path>
                <a:path w="1203325" h="1582420">
                  <a:moveTo>
                    <a:pt x="1202867" y="9359"/>
                  </a:moveTo>
                  <a:lnTo>
                    <a:pt x="1198181" y="9359"/>
                  </a:lnTo>
                  <a:lnTo>
                    <a:pt x="1193507" y="4673"/>
                  </a:lnTo>
                  <a:lnTo>
                    <a:pt x="1202867" y="4673"/>
                  </a:lnTo>
                  <a:lnTo>
                    <a:pt x="1202867" y="9359"/>
                  </a:lnTo>
                  <a:close/>
                </a:path>
                <a:path w="1203325" h="1582420">
                  <a:moveTo>
                    <a:pt x="9359" y="1577657"/>
                  </a:moveTo>
                  <a:lnTo>
                    <a:pt x="4673" y="1572983"/>
                  </a:lnTo>
                  <a:lnTo>
                    <a:pt x="9359" y="1572983"/>
                  </a:lnTo>
                  <a:lnTo>
                    <a:pt x="9359" y="1577657"/>
                  </a:lnTo>
                  <a:close/>
                </a:path>
                <a:path w="1203325" h="1582420">
                  <a:moveTo>
                    <a:pt x="1193507" y="1577657"/>
                  </a:moveTo>
                  <a:lnTo>
                    <a:pt x="9359" y="1577657"/>
                  </a:lnTo>
                  <a:lnTo>
                    <a:pt x="9359" y="1572983"/>
                  </a:lnTo>
                  <a:lnTo>
                    <a:pt x="1193507" y="1572983"/>
                  </a:lnTo>
                  <a:lnTo>
                    <a:pt x="1193507" y="1577657"/>
                  </a:lnTo>
                  <a:close/>
                </a:path>
                <a:path w="1203325" h="1582420">
                  <a:moveTo>
                    <a:pt x="1202867" y="1577657"/>
                  </a:moveTo>
                  <a:lnTo>
                    <a:pt x="1193507" y="1577657"/>
                  </a:lnTo>
                  <a:lnTo>
                    <a:pt x="1198181" y="1572983"/>
                  </a:lnTo>
                  <a:lnTo>
                    <a:pt x="1202867" y="1572983"/>
                  </a:lnTo>
                  <a:lnTo>
                    <a:pt x="1202867" y="157765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/>
          </p:txBody>
        </p:sp>
        <p:sp>
          <p:nvSpPr>
            <p:cNvPr id="37" name="object 37"/>
            <p:cNvSpPr/>
            <p:nvPr/>
          </p:nvSpPr>
          <p:spPr>
            <a:xfrm>
              <a:off x="6178295" y="2980943"/>
              <a:ext cx="1094231" cy="1511808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38" name="object 38"/>
            <p:cNvSpPr/>
            <p:nvPr/>
          </p:nvSpPr>
          <p:spPr>
            <a:xfrm>
              <a:off x="6168936" y="2971584"/>
              <a:ext cx="1113155" cy="1530985"/>
            </a:xfrm>
            <a:custGeom>
              <a:avLst/>
              <a:gdLst/>
              <a:ahLst/>
              <a:cxnLst/>
              <a:rect l="l" t="t" r="r" b="b"/>
              <a:pathLst>
                <a:path w="1113154" h="1530985">
                  <a:moveTo>
                    <a:pt x="1112951" y="1530527"/>
                  </a:moveTo>
                  <a:lnTo>
                    <a:pt x="0" y="1530527"/>
                  </a:lnTo>
                  <a:lnTo>
                    <a:pt x="0" y="0"/>
                  </a:lnTo>
                  <a:lnTo>
                    <a:pt x="1112951" y="0"/>
                  </a:lnTo>
                  <a:lnTo>
                    <a:pt x="1112951" y="4686"/>
                  </a:lnTo>
                  <a:lnTo>
                    <a:pt x="9359" y="4686"/>
                  </a:lnTo>
                  <a:lnTo>
                    <a:pt x="4686" y="9359"/>
                  </a:lnTo>
                  <a:lnTo>
                    <a:pt x="9359" y="9359"/>
                  </a:lnTo>
                  <a:lnTo>
                    <a:pt x="9359" y="1521167"/>
                  </a:lnTo>
                  <a:lnTo>
                    <a:pt x="4686" y="1521167"/>
                  </a:lnTo>
                  <a:lnTo>
                    <a:pt x="9359" y="1525854"/>
                  </a:lnTo>
                  <a:lnTo>
                    <a:pt x="1112951" y="1525854"/>
                  </a:lnTo>
                  <a:lnTo>
                    <a:pt x="1112951" y="1530527"/>
                  </a:lnTo>
                  <a:close/>
                </a:path>
                <a:path w="1113154" h="1530985">
                  <a:moveTo>
                    <a:pt x="9359" y="9359"/>
                  </a:moveTo>
                  <a:lnTo>
                    <a:pt x="4686" y="9359"/>
                  </a:lnTo>
                  <a:lnTo>
                    <a:pt x="9359" y="4686"/>
                  </a:lnTo>
                  <a:lnTo>
                    <a:pt x="9359" y="9359"/>
                  </a:lnTo>
                  <a:close/>
                </a:path>
                <a:path w="1113154" h="1530985">
                  <a:moveTo>
                    <a:pt x="1103591" y="9359"/>
                  </a:moveTo>
                  <a:lnTo>
                    <a:pt x="9359" y="9359"/>
                  </a:lnTo>
                  <a:lnTo>
                    <a:pt x="9359" y="4686"/>
                  </a:lnTo>
                  <a:lnTo>
                    <a:pt x="1103591" y="4686"/>
                  </a:lnTo>
                  <a:lnTo>
                    <a:pt x="1103591" y="9359"/>
                  </a:lnTo>
                  <a:close/>
                </a:path>
                <a:path w="1113154" h="1530985">
                  <a:moveTo>
                    <a:pt x="1103591" y="1525854"/>
                  </a:moveTo>
                  <a:lnTo>
                    <a:pt x="1103591" y="4686"/>
                  </a:lnTo>
                  <a:lnTo>
                    <a:pt x="1108265" y="9359"/>
                  </a:lnTo>
                  <a:lnTo>
                    <a:pt x="1112951" y="9359"/>
                  </a:lnTo>
                  <a:lnTo>
                    <a:pt x="1112951" y="1521167"/>
                  </a:lnTo>
                  <a:lnTo>
                    <a:pt x="1108265" y="1521167"/>
                  </a:lnTo>
                  <a:lnTo>
                    <a:pt x="1103591" y="1525854"/>
                  </a:lnTo>
                  <a:close/>
                </a:path>
                <a:path w="1113154" h="1530985">
                  <a:moveTo>
                    <a:pt x="1112951" y="9359"/>
                  </a:moveTo>
                  <a:lnTo>
                    <a:pt x="1108265" y="9359"/>
                  </a:lnTo>
                  <a:lnTo>
                    <a:pt x="1103591" y="4686"/>
                  </a:lnTo>
                  <a:lnTo>
                    <a:pt x="1112951" y="4686"/>
                  </a:lnTo>
                  <a:lnTo>
                    <a:pt x="1112951" y="9359"/>
                  </a:lnTo>
                  <a:close/>
                </a:path>
                <a:path w="1113154" h="1530985">
                  <a:moveTo>
                    <a:pt x="9359" y="1525854"/>
                  </a:moveTo>
                  <a:lnTo>
                    <a:pt x="4686" y="1521167"/>
                  </a:lnTo>
                  <a:lnTo>
                    <a:pt x="9359" y="1521167"/>
                  </a:lnTo>
                  <a:lnTo>
                    <a:pt x="9359" y="1525854"/>
                  </a:lnTo>
                  <a:close/>
                </a:path>
                <a:path w="1113154" h="1530985">
                  <a:moveTo>
                    <a:pt x="1103591" y="1525854"/>
                  </a:moveTo>
                  <a:lnTo>
                    <a:pt x="9359" y="1525854"/>
                  </a:lnTo>
                  <a:lnTo>
                    <a:pt x="9359" y="1521167"/>
                  </a:lnTo>
                  <a:lnTo>
                    <a:pt x="1103591" y="1521167"/>
                  </a:lnTo>
                  <a:lnTo>
                    <a:pt x="1103591" y="1525854"/>
                  </a:lnTo>
                  <a:close/>
                </a:path>
                <a:path w="1113154" h="1530985">
                  <a:moveTo>
                    <a:pt x="1112951" y="1525854"/>
                  </a:moveTo>
                  <a:lnTo>
                    <a:pt x="1103591" y="1525854"/>
                  </a:lnTo>
                  <a:lnTo>
                    <a:pt x="1108265" y="1521167"/>
                  </a:lnTo>
                  <a:lnTo>
                    <a:pt x="1112951" y="1521167"/>
                  </a:lnTo>
                  <a:lnTo>
                    <a:pt x="1112951" y="152585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/>
          </p:txBody>
        </p:sp>
        <p:sp>
          <p:nvSpPr>
            <p:cNvPr id="39" name="object 39"/>
            <p:cNvSpPr/>
            <p:nvPr/>
          </p:nvSpPr>
          <p:spPr>
            <a:xfrm>
              <a:off x="2932176" y="3329939"/>
              <a:ext cx="1150620" cy="1245108"/>
            </a:xfrm>
            <a:prstGeom prst="rect">
              <a:avLst/>
            </a:prstGeom>
            <a:blipFill>
              <a:blip r:embed="rId1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40" name="object 40"/>
            <p:cNvSpPr/>
            <p:nvPr/>
          </p:nvSpPr>
          <p:spPr>
            <a:xfrm>
              <a:off x="4061460" y="3375659"/>
              <a:ext cx="1150619" cy="1245108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41" name="object 41"/>
            <p:cNvSpPr/>
            <p:nvPr/>
          </p:nvSpPr>
          <p:spPr>
            <a:xfrm>
              <a:off x="6207251" y="3410711"/>
              <a:ext cx="1068324" cy="1245108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</p:grpSp>
      <p:grpSp>
        <p:nvGrpSpPr>
          <p:cNvPr id="42" name="object 42"/>
          <p:cNvGrpSpPr/>
          <p:nvPr/>
        </p:nvGrpSpPr>
        <p:grpSpPr>
          <a:xfrm>
            <a:off x="7409471" y="2973108"/>
            <a:ext cx="1146810" cy="1718310"/>
            <a:chOff x="7409471" y="2973108"/>
            <a:chExt cx="1146810" cy="1718310"/>
          </a:xfrm>
        </p:grpSpPr>
        <p:sp>
          <p:nvSpPr>
            <p:cNvPr id="43" name="object 43"/>
            <p:cNvSpPr/>
            <p:nvPr/>
          </p:nvSpPr>
          <p:spPr>
            <a:xfrm>
              <a:off x="7418831" y="2982467"/>
              <a:ext cx="1127759" cy="1511808"/>
            </a:xfrm>
            <a:prstGeom prst="rect">
              <a:avLst/>
            </a:prstGeom>
            <a:blipFill>
              <a:blip r:embed="rId2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44" name="object 44"/>
            <p:cNvSpPr/>
            <p:nvPr/>
          </p:nvSpPr>
          <p:spPr>
            <a:xfrm>
              <a:off x="7409471" y="2973108"/>
              <a:ext cx="1146810" cy="1530985"/>
            </a:xfrm>
            <a:custGeom>
              <a:avLst/>
              <a:gdLst/>
              <a:ahLst/>
              <a:cxnLst/>
              <a:rect l="l" t="t" r="r" b="b"/>
              <a:pathLst>
                <a:path w="1146809" h="1530985">
                  <a:moveTo>
                    <a:pt x="1146479" y="1530527"/>
                  </a:moveTo>
                  <a:lnTo>
                    <a:pt x="0" y="1530527"/>
                  </a:lnTo>
                  <a:lnTo>
                    <a:pt x="0" y="0"/>
                  </a:lnTo>
                  <a:lnTo>
                    <a:pt x="1146479" y="0"/>
                  </a:lnTo>
                  <a:lnTo>
                    <a:pt x="1146479" y="4673"/>
                  </a:lnTo>
                  <a:lnTo>
                    <a:pt x="9359" y="4673"/>
                  </a:lnTo>
                  <a:lnTo>
                    <a:pt x="4673" y="9359"/>
                  </a:lnTo>
                  <a:lnTo>
                    <a:pt x="9359" y="9359"/>
                  </a:lnTo>
                  <a:lnTo>
                    <a:pt x="9359" y="1521167"/>
                  </a:lnTo>
                  <a:lnTo>
                    <a:pt x="4673" y="1521167"/>
                  </a:lnTo>
                  <a:lnTo>
                    <a:pt x="9359" y="1525841"/>
                  </a:lnTo>
                  <a:lnTo>
                    <a:pt x="1146479" y="1525841"/>
                  </a:lnTo>
                  <a:lnTo>
                    <a:pt x="1146479" y="1530527"/>
                  </a:lnTo>
                  <a:close/>
                </a:path>
                <a:path w="1146809" h="1530985">
                  <a:moveTo>
                    <a:pt x="9359" y="9359"/>
                  </a:moveTo>
                  <a:lnTo>
                    <a:pt x="4673" y="9359"/>
                  </a:lnTo>
                  <a:lnTo>
                    <a:pt x="9359" y="4673"/>
                  </a:lnTo>
                  <a:lnTo>
                    <a:pt x="9359" y="9359"/>
                  </a:lnTo>
                  <a:close/>
                </a:path>
                <a:path w="1146809" h="1530985">
                  <a:moveTo>
                    <a:pt x="1137119" y="9359"/>
                  </a:moveTo>
                  <a:lnTo>
                    <a:pt x="9359" y="9359"/>
                  </a:lnTo>
                  <a:lnTo>
                    <a:pt x="9359" y="4673"/>
                  </a:lnTo>
                  <a:lnTo>
                    <a:pt x="1137119" y="4673"/>
                  </a:lnTo>
                  <a:lnTo>
                    <a:pt x="1137119" y="9359"/>
                  </a:lnTo>
                  <a:close/>
                </a:path>
                <a:path w="1146809" h="1530985">
                  <a:moveTo>
                    <a:pt x="1137119" y="1525841"/>
                  </a:moveTo>
                  <a:lnTo>
                    <a:pt x="1137119" y="4673"/>
                  </a:lnTo>
                  <a:lnTo>
                    <a:pt x="1141793" y="9359"/>
                  </a:lnTo>
                  <a:lnTo>
                    <a:pt x="1146479" y="9359"/>
                  </a:lnTo>
                  <a:lnTo>
                    <a:pt x="1146479" y="1521167"/>
                  </a:lnTo>
                  <a:lnTo>
                    <a:pt x="1141793" y="1521167"/>
                  </a:lnTo>
                  <a:lnTo>
                    <a:pt x="1137119" y="1525841"/>
                  </a:lnTo>
                  <a:close/>
                </a:path>
                <a:path w="1146809" h="1530985">
                  <a:moveTo>
                    <a:pt x="1146479" y="9359"/>
                  </a:moveTo>
                  <a:lnTo>
                    <a:pt x="1141793" y="9359"/>
                  </a:lnTo>
                  <a:lnTo>
                    <a:pt x="1137119" y="4673"/>
                  </a:lnTo>
                  <a:lnTo>
                    <a:pt x="1146479" y="4673"/>
                  </a:lnTo>
                  <a:lnTo>
                    <a:pt x="1146479" y="9359"/>
                  </a:lnTo>
                  <a:close/>
                </a:path>
                <a:path w="1146809" h="1530985">
                  <a:moveTo>
                    <a:pt x="9359" y="1525841"/>
                  </a:moveTo>
                  <a:lnTo>
                    <a:pt x="4673" y="1521167"/>
                  </a:lnTo>
                  <a:lnTo>
                    <a:pt x="9359" y="1521167"/>
                  </a:lnTo>
                  <a:lnTo>
                    <a:pt x="9359" y="1525841"/>
                  </a:lnTo>
                  <a:close/>
                </a:path>
                <a:path w="1146809" h="1530985">
                  <a:moveTo>
                    <a:pt x="1137119" y="1525841"/>
                  </a:moveTo>
                  <a:lnTo>
                    <a:pt x="9359" y="1525841"/>
                  </a:lnTo>
                  <a:lnTo>
                    <a:pt x="9359" y="1521167"/>
                  </a:lnTo>
                  <a:lnTo>
                    <a:pt x="1137119" y="1521167"/>
                  </a:lnTo>
                  <a:lnTo>
                    <a:pt x="1137119" y="1525841"/>
                  </a:lnTo>
                  <a:close/>
                </a:path>
                <a:path w="1146809" h="1530985">
                  <a:moveTo>
                    <a:pt x="1146479" y="1525841"/>
                  </a:moveTo>
                  <a:lnTo>
                    <a:pt x="1137119" y="1525841"/>
                  </a:lnTo>
                  <a:lnTo>
                    <a:pt x="1141793" y="1521167"/>
                  </a:lnTo>
                  <a:lnTo>
                    <a:pt x="1146479" y="1521167"/>
                  </a:lnTo>
                  <a:lnTo>
                    <a:pt x="1146479" y="1525841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/>
          </p:txBody>
        </p:sp>
        <p:sp>
          <p:nvSpPr>
            <p:cNvPr id="45" name="object 45"/>
            <p:cNvSpPr/>
            <p:nvPr/>
          </p:nvSpPr>
          <p:spPr>
            <a:xfrm>
              <a:off x="7473695" y="3445763"/>
              <a:ext cx="1068324" cy="1245108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</p:grpSp>
      <p:grpSp>
        <p:nvGrpSpPr>
          <p:cNvPr id="46" name="object 46"/>
          <p:cNvGrpSpPr/>
          <p:nvPr/>
        </p:nvGrpSpPr>
        <p:grpSpPr>
          <a:xfrm>
            <a:off x="1968626" y="4740783"/>
            <a:ext cx="1189990" cy="1488440"/>
            <a:chOff x="1968626" y="4740783"/>
            <a:chExt cx="1189990" cy="1488440"/>
          </a:xfrm>
        </p:grpSpPr>
        <p:sp>
          <p:nvSpPr>
            <p:cNvPr id="47" name="object 47"/>
            <p:cNvSpPr/>
            <p:nvPr/>
          </p:nvSpPr>
          <p:spPr>
            <a:xfrm>
              <a:off x="1978151" y="4750308"/>
              <a:ext cx="1170432" cy="1469136"/>
            </a:xfrm>
            <a:prstGeom prst="rect">
              <a:avLst/>
            </a:prstGeom>
            <a:blipFill>
              <a:blip r:embed="rId2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48" name="object 48"/>
            <p:cNvSpPr/>
            <p:nvPr/>
          </p:nvSpPr>
          <p:spPr>
            <a:xfrm>
              <a:off x="1968626" y="4740783"/>
              <a:ext cx="1189990" cy="1488440"/>
            </a:xfrm>
            <a:custGeom>
              <a:avLst/>
              <a:gdLst/>
              <a:ahLst/>
              <a:cxnLst/>
              <a:rect l="l" t="t" r="r" b="b"/>
              <a:pathLst>
                <a:path w="1189989" h="1488439">
                  <a:moveTo>
                    <a:pt x="1184719" y="1488186"/>
                  </a:moveTo>
                  <a:lnTo>
                    <a:pt x="4762" y="1488186"/>
                  </a:lnTo>
                  <a:lnTo>
                    <a:pt x="3289" y="1487957"/>
                  </a:lnTo>
                  <a:lnTo>
                    <a:pt x="1968" y="1487271"/>
                  </a:lnTo>
                  <a:lnTo>
                    <a:pt x="914" y="1486217"/>
                  </a:lnTo>
                  <a:lnTo>
                    <a:pt x="228" y="1484896"/>
                  </a:lnTo>
                  <a:lnTo>
                    <a:pt x="0" y="1483423"/>
                  </a:lnTo>
                  <a:lnTo>
                    <a:pt x="0" y="4762"/>
                  </a:lnTo>
                  <a:lnTo>
                    <a:pt x="4762" y="0"/>
                  </a:lnTo>
                  <a:lnTo>
                    <a:pt x="1184719" y="0"/>
                  </a:lnTo>
                  <a:lnTo>
                    <a:pt x="1189482" y="4762"/>
                  </a:lnTo>
                  <a:lnTo>
                    <a:pt x="9525" y="4762"/>
                  </a:lnTo>
                  <a:lnTo>
                    <a:pt x="4762" y="9525"/>
                  </a:lnTo>
                  <a:lnTo>
                    <a:pt x="9525" y="9525"/>
                  </a:lnTo>
                  <a:lnTo>
                    <a:pt x="9525" y="1478661"/>
                  </a:lnTo>
                  <a:lnTo>
                    <a:pt x="4762" y="1478661"/>
                  </a:lnTo>
                  <a:lnTo>
                    <a:pt x="9525" y="1483423"/>
                  </a:lnTo>
                  <a:lnTo>
                    <a:pt x="1189482" y="1483423"/>
                  </a:lnTo>
                  <a:lnTo>
                    <a:pt x="1189253" y="1484896"/>
                  </a:lnTo>
                  <a:lnTo>
                    <a:pt x="1188567" y="1486217"/>
                  </a:lnTo>
                  <a:lnTo>
                    <a:pt x="1187513" y="1487271"/>
                  </a:lnTo>
                  <a:lnTo>
                    <a:pt x="1186192" y="1487957"/>
                  </a:lnTo>
                  <a:lnTo>
                    <a:pt x="1184719" y="1488186"/>
                  </a:lnTo>
                  <a:close/>
                </a:path>
                <a:path w="1189989" h="1488439">
                  <a:moveTo>
                    <a:pt x="9525" y="9525"/>
                  </a:moveTo>
                  <a:lnTo>
                    <a:pt x="4762" y="9525"/>
                  </a:lnTo>
                  <a:lnTo>
                    <a:pt x="9525" y="4762"/>
                  </a:lnTo>
                  <a:lnTo>
                    <a:pt x="9525" y="9525"/>
                  </a:lnTo>
                  <a:close/>
                </a:path>
                <a:path w="1189989" h="1488439">
                  <a:moveTo>
                    <a:pt x="1179957" y="9525"/>
                  </a:moveTo>
                  <a:lnTo>
                    <a:pt x="9525" y="9525"/>
                  </a:lnTo>
                  <a:lnTo>
                    <a:pt x="9525" y="4762"/>
                  </a:lnTo>
                  <a:lnTo>
                    <a:pt x="1179957" y="4762"/>
                  </a:lnTo>
                  <a:lnTo>
                    <a:pt x="1179957" y="9525"/>
                  </a:lnTo>
                  <a:close/>
                </a:path>
                <a:path w="1189989" h="1488439">
                  <a:moveTo>
                    <a:pt x="1179957" y="1483423"/>
                  </a:moveTo>
                  <a:lnTo>
                    <a:pt x="1179957" y="4762"/>
                  </a:lnTo>
                  <a:lnTo>
                    <a:pt x="1184719" y="9525"/>
                  </a:lnTo>
                  <a:lnTo>
                    <a:pt x="1189482" y="9525"/>
                  </a:lnTo>
                  <a:lnTo>
                    <a:pt x="1189482" y="1478661"/>
                  </a:lnTo>
                  <a:lnTo>
                    <a:pt x="1184719" y="1478661"/>
                  </a:lnTo>
                  <a:lnTo>
                    <a:pt x="1179957" y="1483423"/>
                  </a:lnTo>
                  <a:close/>
                </a:path>
                <a:path w="1189989" h="1488439">
                  <a:moveTo>
                    <a:pt x="1189482" y="9525"/>
                  </a:moveTo>
                  <a:lnTo>
                    <a:pt x="1184719" y="9525"/>
                  </a:lnTo>
                  <a:lnTo>
                    <a:pt x="1179957" y="4762"/>
                  </a:lnTo>
                  <a:lnTo>
                    <a:pt x="1189482" y="4762"/>
                  </a:lnTo>
                  <a:lnTo>
                    <a:pt x="1189482" y="9525"/>
                  </a:lnTo>
                  <a:close/>
                </a:path>
                <a:path w="1189989" h="1488439">
                  <a:moveTo>
                    <a:pt x="9525" y="1483423"/>
                  </a:moveTo>
                  <a:lnTo>
                    <a:pt x="4762" y="1478661"/>
                  </a:lnTo>
                  <a:lnTo>
                    <a:pt x="9525" y="1478661"/>
                  </a:lnTo>
                  <a:lnTo>
                    <a:pt x="9525" y="1483423"/>
                  </a:lnTo>
                  <a:close/>
                </a:path>
                <a:path w="1189989" h="1488439">
                  <a:moveTo>
                    <a:pt x="1179957" y="1483423"/>
                  </a:moveTo>
                  <a:lnTo>
                    <a:pt x="9525" y="1483423"/>
                  </a:lnTo>
                  <a:lnTo>
                    <a:pt x="9525" y="1478661"/>
                  </a:lnTo>
                  <a:lnTo>
                    <a:pt x="1179957" y="1478661"/>
                  </a:lnTo>
                  <a:lnTo>
                    <a:pt x="1179957" y="1483423"/>
                  </a:lnTo>
                  <a:close/>
                </a:path>
                <a:path w="1189989" h="1488439">
                  <a:moveTo>
                    <a:pt x="1189482" y="1483423"/>
                  </a:moveTo>
                  <a:lnTo>
                    <a:pt x="1179957" y="1483423"/>
                  </a:lnTo>
                  <a:lnTo>
                    <a:pt x="1184719" y="1478661"/>
                  </a:lnTo>
                  <a:lnTo>
                    <a:pt x="1189482" y="1478661"/>
                  </a:lnTo>
                  <a:lnTo>
                    <a:pt x="1189482" y="1483423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/>
          </p:txBody>
        </p:sp>
      </p:grpSp>
      <p:sp>
        <p:nvSpPr>
          <p:cNvPr id="49" name="object 49"/>
          <p:cNvSpPr/>
          <p:nvPr/>
        </p:nvSpPr>
        <p:spPr>
          <a:xfrm>
            <a:off x="3288791" y="4709159"/>
            <a:ext cx="1178052" cy="1528572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grpSp>
        <p:nvGrpSpPr>
          <p:cNvPr id="50" name="object 50"/>
          <p:cNvGrpSpPr/>
          <p:nvPr/>
        </p:nvGrpSpPr>
        <p:grpSpPr>
          <a:xfrm>
            <a:off x="5286375" y="4704207"/>
            <a:ext cx="1281430" cy="1511300"/>
            <a:chOff x="5286375" y="4704207"/>
            <a:chExt cx="1281430" cy="1511300"/>
          </a:xfrm>
        </p:grpSpPr>
        <p:sp>
          <p:nvSpPr>
            <p:cNvPr id="51" name="object 51"/>
            <p:cNvSpPr/>
            <p:nvPr/>
          </p:nvSpPr>
          <p:spPr>
            <a:xfrm>
              <a:off x="5295900" y="4713732"/>
              <a:ext cx="1261872" cy="1491996"/>
            </a:xfrm>
            <a:prstGeom prst="rect">
              <a:avLst/>
            </a:prstGeom>
            <a:blipFill>
              <a:blip r:embed="rId2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  <p:sp>
          <p:nvSpPr>
            <p:cNvPr id="52" name="object 52"/>
            <p:cNvSpPr/>
            <p:nvPr/>
          </p:nvSpPr>
          <p:spPr>
            <a:xfrm>
              <a:off x="5286375" y="4704207"/>
              <a:ext cx="1281430" cy="1511300"/>
            </a:xfrm>
            <a:custGeom>
              <a:avLst/>
              <a:gdLst/>
              <a:ahLst/>
              <a:cxnLst/>
              <a:rect l="l" t="t" r="r" b="b"/>
              <a:pathLst>
                <a:path w="1281429" h="1511300">
                  <a:moveTo>
                    <a:pt x="1276159" y="1511045"/>
                  </a:moveTo>
                  <a:lnTo>
                    <a:pt x="4762" y="1511045"/>
                  </a:lnTo>
                  <a:lnTo>
                    <a:pt x="3289" y="1510817"/>
                  </a:lnTo>
                  <a:lnTo>
                    <a:pt x="1968" y="1510131"/>
                  </a:lnTo>
                  <a:lnTo>
                    <a:pt x="914" y="1509077"/>
                  </a:lnTo>
                  <a:lnTo>
                    <a:pt x="228" y="1507756"/>
                  </a:lnTo>
                  <a:lnTo>
                    <a:pt x="0" y="1506283"/>
                  </a:lnTo>
                  <a:lnTo>
                    <a:pt x="0" y="4762"/>
                  </a:lnTo>
                  <a:lnTo>
                    <a:pt x="4762" y="0"/>
                  </a:lnTo>
                  <a:lnTo>
                    <a:pt x="1276159" y="0"/>
                  </a:lnTo>
                  <a:lnTo>
                    <a:pt x="1280922" y="4762"/>
                  </a:lnTo>
                  <a:lnTo>
                    <a:pt x="9525" y="4762"/>
                  </a:lnTo>
                  <a:lnTo>
                    <a:pt x="4762" y="9525"/>
                  </a:lnTo>
                  <a:lnTo>
                    <a:pt x="9525" y="9525"/>
                  </a:lnTo>
                  <a:lnTo>
                    <a:pt x="9525" y="1501520"/>
                  </a:lnTo>
                  <a:lnTo>
                    <a:pt x="4762" y="1501520"/>
                  </a:lnTo>
                  <a:lnTo>
                    <a:pt x="9525" y="1506283"/>
                  </a:lnTo>
                  <a:lnTo>
                    <a:pt x="1280922" y="1506283"/>
                  </a:lnTo>
                  <a:lnTo>
                    <a:pt x="1280693" y="1507756"/>
                  </a:lnTo>
                  <a:lnTo>
                    <a:pt x="1280007" y="1509077"/>
                  </a:lnTo>
                  <a:lnTo>
                    <a:pt x="1278953" y="1510131"/>
                  </a:lnTo>
                  <a:lnTo>
                    <a:pt x="1277632" y="1510817"/>
                  </a:lnTo>
                  <a:lnTo>
                    <a:pt x="1276159" y="1511045"/>
                  </a:lnTo>
                  <a:close/>
                </a:path>
                <a:path w="1281429" h="1511300">
                  <a:moveTo>
                    <a:pt x="9525" y="9525"/>
                  </a:moveTo>
                  <a:lnTo>
                    <a:pt x="4762" y="9525"/>
                  </a:lnTo>
                  <a:lnTo>
                    <a:pt x="9525" y="4762"/>
                  </a:lnTo>
                  <a:lnTo>
                    <a:pt x="9525" y="9525"/>
                  </a:lnTo>
                  <a:close/>
                </a:path>
                <a:path w="1281429" h="1511300">
                  <a:moveTo>
                    <a:pt x="1271397" y="9525"/>
                  </a:moveTo>
                  <a:lnTo>
                    <a:pt x="9525" y="9525"/>
                  </a:lnTo>
                  <a:lnTo>
                    <a:pt x="9525" y="4762"/>
                  </a:lnTo>
                  <a:lnTo>
                    <a:pt x="1271397" y="4762"/>
                  </a:lnTo>
                  <a:lnTo>
                    <a:pt x="1271397" y="9525"/>
                  </a:lnTo>
                  <a:close/>
                </a:path>
                <a:path w="1281429" h="1511300">
                  <a:moveTo>
                    <a:pt x="1271397" y="1506283"/>
                  </a:moveTo>
                  <a:lnTo>
                    <a:pt x="1271397" y="4762"/>
                  </a:lnTo>
                  <a:lnTo>
                    <a:pt x="1276159" y="9525"/>
                  </a:lnTo>
                  <a:lnTo>
                    <a:pt x="1280922" y="9525"/>
                  </a:lnTo>
                  <a:lnTo>
                    <a:pt x="1280922" y="1501520"/>
                  </a:lnTo>
                  <a:lnTo>
                    <a:pt x="1276159" y="1501520"/>
                  </a:lnTo>
                  <a:lnTo>
                    <a:pt x="1271397" y="1506283"/>
                  </a:lnTo>
                  <a:close/>
                </a:path>
                <a:path w="1281429" h="1511300">
                  <a:moveTo>
                    <a:pt x="1280922" y="9525"/>
                  </a:moveTo>
                  <a:lnTo>
                    <a:pt x="1276159" y="9525"/>
                  </a:lnTo>
                  <a:lnTo>
                    <a:pt x="1271397" y="4762"/>
                  </a:lnTo>
                  <a:lnTo>
                    <a:pt x="1280922" y="4762"/>
                  </a:lnTo>
                  <a:lnTo>
                    <a:pt x="1280922" y="9525"/>
                  </a:lnTo>
                  <a:close/>
                </a:path>
                <a:path w="1281429" h="1511300">
                  <a:moveTo>
                    <a:pt x="9525" y="1506283"/>
                  </a:moveTo>
                  <a:lnTo>
                    <a:pt x="4762" y="1501520"/>
                  </a:lnTo>
                  <a:lnTo>
                    <a:pt x="9525" y="1501520"/>
                  </a:lnTo>
                  <a:lnTo>
                    <a:pt x="9525" y="1506283"/>
                  </a:lnTo>
                  <a:close/>
                </a:path>
                <a:path w="1281429" h="1511300">
                  <a:moveTo>
                    <a:pt x="1271397" y="1506283"/>
                  </a:moveTo>
                  <a:lnTo>
                    <a:pt x="9525" y="1506283"/>
                  </a:lnTo>
                  <a:lnTo>
                    <a:pt x="9525" y="1501520"/>
                  </a:lnTo>
                  <a:lnTo>
                    <a:pt x="1271397" y="1501520"/>
                  </a:lnTo>
                  <a:lnTo>
                    <a:pt x="1271397" y="1506283"/>
                  </a:lnTo>
                  <a:close/>
                </a:path>
                <a:path w="1281429" h="1511300">
                  <a:moveTo>
                    <a:pt x="1280922" y="1506283"/>
                  </a:moveTo>
                  <a:lnTo>
                    <a:pt x="1271397" y="1506283"/>
                  </a:lnTo>
                  <a:lnTo>
                    <a:pt x="1276159" y="1501520"/>
                  </a:lnTo>
                  <a:lnTo>
                    <a:pt x="1280922" y="1501520"/>
                  </a:lnTo>
                  <a:lnTo>
                    <a:pt x="1280922" y="1506283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/>
          </p:txBody>
        </p:sp>
        <p:sp>
          <p:nvSpPr>
            <p:cNvPr id="53" name="object 53"/>
            <p:cNvSpPr/>
            <p:nvPr/>
          </p:nvSpPr>
          <p:spPr>
            <a:xfrm>
              <a:off x="5294375" y="5021580"/>
              <a:ext cx="1150620" cy="1168908"/>
            </a:xfrm>
            <a:prstGeom prst="rect">
              <a:avLst/>
            </a:prstGeom>
            <a:blipFill>
              <a:blip r:embed="rId2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/>
          </p:txBody>
        </p:sp>
      </p:grpSp>
      <p:sp>
        <p:nvSpPr>
          <p:cNvPr id="54" name="object 54"/>
          <p:cNvSpPr txBox="1"/>
          <p:nvPr/>
        </p:nvSpPr>
        <p:spPr>
          <a:xfrm>
            <a:off x="1530032" y="3308794"/>
            <a:ext cx="902969" cy="732790"/>
          </a:xfrm>
          <a:prstGeom prst="rect">
            <a:avLst/>
          </a:prstGeom>
        </p:spPr>
        <p:txBody>
          <a:bodyPr vert="horz" wrap="square" lIns="0" tIns="30480" rIns="0" bIns="0" rtlCol="0">
            <a:spAutoFit/>
          </a:bodyPr>
          <a:lstStyle/>
          <a:p>
            <a:pPr marL="38735" algn="ctr">
              <a:lnSpc>
                <a:spcPct val="100000"/>
              </a:lnSpc>
              <a:spcBef>
                <a:spcPts val="240"/>
              </a:spcBef>
            </a:pPr>
            <a:r>
              <a:rPr sz="1100" spc="-5" dirty="0">
                <a:latin typeface="Impact" panose="020B0806030902050204"/>
                <a:cs typeface="Impact" panose="020B0806030902050204"/>
              </a:rPr>
              <a:t>УМК</a:t>
            </a:r>
            <a:endParaRPr sz="1100">
              <a:latin typeface="Impact" panose="020B0806030902050204"/>
              <a:cs typeface="Impact" panose="020B0806030902050204"/>
            </a:endParaRPr>
          </a:p>
          <a:p>
            <a:pPr marL="20955" marR="5080" indent="-8255" algn="just">
              <a:lnSpc>
                <a:spcPct val="100000"/>
              </a:lnSpc>
              <a:spcBef>
                <a:spcPts val="145"/>
              </a:spcBef>
            </a:pPr>
            <a:r>
              <a:rPr sz="1100" spc="-5" dirty="0">
                <a:latin typeface="Impact" panose="020B0806030902050204"/>
                <a:cs typeface="Impact" panose="020B0806030902050204"/>
              </a:rPr>
              <a:t>О.С.</a:t>
            </a:r>
            <a:r>
              <a:rPr sz="1100" spc="-50" dirty="0">
                <a:latin typeface="Impact" panose="020B0806030902050204"/>
                <a:cs typeface="Impact" panose="020B0806030902050204"/>
              </a:rPr>
              <a:t> </a:t>
            </a:r>
            <a:r>
              <a:rPr sz="1100" spc="-5" dirty="0">
                <a:latin typeface="Impact" panose="020B0806030902050204"/>
                <a:cs typeface="Impact" panose="020B0806030902050204"/>
              </a:rPr>
              <a:t>Габриелян  И.Г. Остроумов  С.А.</a:t>
            </a:r>
            <a:r>
              <a:rPr sz="1100" spc="-10" dirty="0">
                <a:latin typeface="Impact" panose="020B0806030902050204"/>
                <a:cs typeface="Impact" panose="020B0806030902050204"/>
              </a:rPr>
              <a:t> </a:t>
            </a:r>
            <a:r>
              <a:rPr sz="1100" spc="-5" dirty="0">
                <a:latin typeface="Impact" panose="020B0806030902050204"/>
                <a:cs typeface="Impact" panose="020B0806030902050204"/>
              </a:rPr>
              <a:t>Сладков</a:t>
            </a:r>
            <a:endParaRPr sz="1100">
              <a:latin typeface="Impact" panose="020B0806030902050204"/>
              <a:cs typeface="Impact" panose="020B0806030902050204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207390" y="50292"/>
            <a:ext cx="1726024" cy="746759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6787895"/>
            <a:ext cx="9144000" cy="70104"/>
          </a:xfrm>
          <a:prstGeom prst="rect">
            <a:avLst/>
          </a:prstGeom>
          <a:blipFill>
            <a:blip r:embed="rId1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sp>
        <p:nvSpPr>
          <p:cNvPr id="3" name="object 3"/>
          <p:cNvSpPr/>
          <p:nvPr/>
        </p:nvSpPr>
        <p:spPr>
          <a:xfrm>
            <a:off x="0" y="814536"/>
            <a:ext cx="9144000" cy="3808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sp>
        <p:nvSpPr>
          <p:cNvPr id="4" name="object 4"/>
          <p:cNvSpPr/>
          <p:nvPr/>
        </p:nvSpPr>
        <p:spPr>
          <a:xfrm>
            <a:off x="0" y="6486144"/>
            <a:ext cx="2807208" cy="37185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xfrm>
            <a:off x="2347595" y="198756"/>
            <a:ext cx="6511290" cy="386080"/>
          </a:xfrm>
          <a:prstGeom prst="rect">
            <a:avLst/>
          </a:prstGeom>
        </p:spPr>
        <p:txBody>
          <a:bodyPr vert="horz" wrap="square" lIns="0" tIns="53975" rIns="0" bIns="0" rtlCol="0">
            <a:spAutoFit/>
          </a:bodyPr>
          <a:lstStyle/>
          <a:p>
            <a:pPr marL="12700" marR="5080" indent="1009015" algn="l">
              <a:lnSpc>
                <a:spcPts val="2590"/>
              </a:lnSpc>
              <a:spcBef>
                <a:spcPts val="425"/>
              </a:spcBef>
              <a:tabLst>
                <a:tab pos="2203450" algn="l"/>
              </a:tabLst>
            </a:pPr>
            <a:r>
              <a:rPr lang="ru-RU" sz="2600" b="1" kern="1200" spc="-4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Задачник»</a:t>
            </a:r>
            <a:endParaRPr lang="ru-RU" sz="2600" b="1" kern="1200" spc="-4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207390" y="50292"/>
            <a:ext cx="1726024" cy="74675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grpSp>
        <p:nvGrpSpPr>
          <p:cNvPr id="66" name="object 3"/>
          <p:cNvGrpSpPr/>
          <p:nvPr/>
        </p:nvGrpSpPr>
        <p:grpSpPr>
          <a:xfrm>
            <a:off x="126276" y="4056672"/>
            <a:ext cx="1955800" cy="2434590"/>
            <a:chOff x="126276" y="4056672"/>
            <a:chExt cx="1955800" cy="2434590"/>
          </a:xfrm>
        </p:grpSpPr>
        <p:sp>
          <p:nvSpPr>
            <p:cNvPr id="67" name="object 4"/>
            <p:cNvSpPr/>
            <p:nvPr/>
          </p:nvSpPr>
          <p:spPr>
            <a:xfrm>
              <a:off x="135635" y="4066032"/>
              <a:ext cx="1937004" cy="241554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p/>
          </p:txBody>
        </p:sp>
        <p:sp>
          <p:nvSpPr>
            <p:cNvPr id="68" name="object 5"/>
            <p:cNvSpPr/>
            <p:nvPr/>
          </p:nvSpPr>
          <p:spPr>
            <a:xfrm>
              <a:off x="126276" y="4056672"/>
              <a:ext cx="1955800" cy="2434590"/>
            </a:xfrm>
            <a:custGeom>
              <a:avLst/>
              <a:gdLst/>
              <a:ahLst/>
              <a:cxnLst/>
              <a:rect l="l" t="t" r="r" b="b"/>
              <a:pathLst>
                <a:path w="1955800" h="2434590">
                  <a:moveTo>
                    <a:pt x="1955723" y="2434259"/>
                  </a:moveTo>
                  <a:lnTo>
                    <a:pt x="0" y="2434259"/>
                  </a:lnTo>
                  <a:lnTo>
                    <a:pt x="0" y="0"/>
                  </a:lnTo>
                  <a:lnTo>
                    <a:pt x="1955723" y="0"/>
                  </a:lnTo>
                  <a:lnTo>
                    <a:pt x="1955723" y="4673"/>
                  </a:lnTo>
                  <a:lnTo>
                    <a:pt x="9359" y="4673"/>
                  </a:lnTo>
                  <a:lnTo>
                    <a:pt x="4673" y="9359"/>
                  </a:lnTo>
                  <a:lnTo>
                    <a:pt x="9359" y="9359"/>
                  </a:lnTo>
                  <a:lnTo>
                    <a:pt x="9359" y="2424899"/>
                  </a:lnTo>
                  <a:lnTo>
                    <a:pt x="4673" y="2424899"/>
                  </a:lnTo>
                  <a:lnTo>
                    <a:pt x="9359" y="2429573"/>
                  </a:lnTo>
                  <a:lnTo>
                    <a:pt x="1955723" y="2429573"/>
                  </a:lnTo>
                  <a:lnTo>
                    <a:pt x="1955723" y="2434259"/>
                  </a:lnTo>
                  <a:close/>
                </a:path>
                <a:path w="1955800" h="2434590">
                  <a:moveTo>
                    <a:pt x="9359" y="9359"/>
                  </a:moveTo>
                  <a:lnTo>
                    <a:pt x="4673" y="9359"/>
                  </a:lnTo>
                  <a:lnTo>
                    <a:pt x="9359" y="4673"/>
                  </a:lnTo>
                  <a:lnTo>
                    <a:pt x="9359" y="9359"/>
                  </a:lnTo>
                  <a:close/>
                </a:path>
                <a:path w="1955800" h="2434590">
                  <a:moveTo>
                    <a:pt x="1946363" y="9359"/>
                  </a:moveTo>
                  <a:lnTo>
                    <a:pt x="9359" y="9359"/>
                  </a:lnTo>
                  <a:lnTo>
                    <a:pt x="9359" y="4673"/>
                  </a:lnTo>
                  <a:lnTo>
                    <a:pt x="1946363" y="4673"/>
                  </a:lnTo>
                  <a:lnTo>
                    <a:pt x="1946363" y="9359"/>
                  </a:lnTo>
                  <a:close/>
                </a:path>
                <a:path w="1955800" h="2434590">
                  <a:moveTo>
                    <a:pt x="1946363" y="2429573"/>
                  </a:moveTo>
                  <a:lnTo>
                    <a:pt x="1946363" y="4673"/>
                  </a:lnTo>
                  <a:lnTo>
                    <a:pt x="1951037" y="9359"/>
                  </a:lnTo>
                  <a:lnTo>
                    <a:pt x="1955723" y="9359"/>
                  </a:lnTo>
                  <a:lnTo>
                    <a:pt x="1955723" y="2424899"/>
                  </a:lnTo>
                  <a:lnTo>
                    <a:pt x="1951037" y="2424899"/>
                  </a:lnTo>
                  <a:lnTo>
                    <a:pt x="1946363" y="2429573"/>
                  </a:lnTo>
                  <a:close/>
                </a:path>
                <a:path w="1955800" h="2434590">
                  <a:moveTo>
                    <a:pt x="1955723" y="9359"/>
                  </a:moveTo>
                  <a:lnTo>
                    <a:pt x="1951037" y="9359"/>
                  </a:lnTo>
                  <a:lnTo>
                    <a:pt x="1946363" y="4673"/>
                  </a:lnTo>
                  <a:lnTo>
                    <a:pt x="1955723" y="4673"/>
                  </a:lnTo>
                  <a:lnTo>
                    <a:pt x="1955723" y="9359"/>
                  </a:lnTo>
                  <a:close/>
                </a:path>
                <a:path w="1955800" h="2434590">
                  <a:moveTo>
                    <a:pt x="9359" y="2429573"/>
                  </a:moveTo>
                  <a:lnTo>
                    <a:pt x="4673" y="2424899"/>
                  </a:lnTo>
                  <a:lnTo>
                    <a:pt x="9359" y="2424899"/>
                  </a:lnTo>
                  <a:lnTo>
                    <a:pt x="9359" y="2429573"/>
                  </a:lnTo>
                  <a:close/>
                </a:path>
                <a:path w="1955800" h="2434590">
                  <a:moveTo>
                    <a:pt x="1946363" y="2429573"/>
                  </a:moveTo>
                  <a:lnTo>
                    <a:pt x="9359" y="2429573"/>
                  </a:lnTo>
                  <a:lnTo>
                    <a:pt x="9359" y="2424899"/>
                  </a:lnTo>
                  <a:lnTo>
                    <a:pt x="1946363" y="2424899"/>
                  </a:lnTo>
                  <a:lnTo>
                    <a:pt x="1946363" y="2429573"/>
                  </a:lnTo>
                  <a:close/>
                </a:path>
                <a:path w="1955800" h="2434590">
                  <a:moveTo>
                    <a:pt x="1955723" y="2429573"/>
                  </a:moveTo>
                  <a:lnTo>
                    <a:pt x="1946363" y="2429573"/>
                  </a:lnTo>
                  <a:lnTo>
                    <a:pt x="1951037" y="2424899"/>
                  </a:lnTo>
                  <a:lnTo>
                    <a:pt x="1955723" y="2424899"/>
                  </a:lnTo>
                  <a:lnTo>
                    <a:pt x="1955723" y="2429573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p/>
          </p:txBody>
        </p:sp>
      </p:grpSp>
      <p:grpSp>
        <p:nvGrpSpPr>
          <p:cNvPr id="69" name="object 6"/>
          <p:cNvGrpSpPr/>
          <p:nvPr/>
        </p:nvGrpSpPr>
        <p:grpSpPr>
          <a:xfrm>
            <a:off x="2387892" y="4056672"/>
            <a:ext cx="1829435" cy="2434590"/>
            <a:chOff x="2387892" y="4056672"/>
            <a:chExt cx="1829435" cy="2434590"/>
          </a:xfrm>
        </p:grpSpPr>
        <p:sp>
          <p:nvSpPr>
            <p:cNvPr id="70" name="object 7"/>
            <p:cNvSpPr/>
            <p:nvPr/>
          </p:nvSpPr>
          <p:spPr>
            <a:xfrm>
              <a:off x="2397251" y="4066032"/>
              <a:ext cx="1810512" cy="241554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p/>
          </p:txBody>
        </p:sp>
        <p:sp>
          <p:nvSpPr>
            <p:cNvPr id="71" name="object 8"/>
            <p:cNvSpPr/>
            <p:nvPr/>
          </p:nvSpPr>
          <p:spPr>
            <a:xfrm>
              <a:off x="2387892" y="4056672"/>
              <a:ext cx="1829435" cy="2434590"/>
            </a:xfrm>
            <a:custGeom>
              <a:avLst/>
              <a:gdLst/>
              <a:ahLst/>
              <a:cxnLst/>
              <a:rect l="l" t="t" r="r" b="b"/>
              <a:pathLst>
                <a:path w="1829435" h="2434590">
                  <a:moveTo>
                    <a:pt x="1829231" y="2434259"/>
                  </a:moveTo>
                  <a:lnTo>
                    <a:pt x="0" y="2434259"/>
                  </a:lnTo>
                  <a:lnTo>
                    <a:pt x="0" y="0"/>
                  </a:lnTo>
                  <a:lnTo>
                    <a:pt x="1829231" y="0"/>
                  </a:lnTo>
                  <a:lnTo>
                    <a:pt x="1829231" y="4673"/>
                  </a:lnTo>
                  <a:lnTo>
                    <a:pt x="9359" y="4673"/>
                  </a:lnTo>
                  <a:lnTo>
                    <a:pt x="4673" y="9359"/>
                  </a:lnTo>
                  <a:lnTo>
                    <a:pt x="9359" y="9359"/>
                  </a:lnTo>
                  <a:lnTo>
                    <a:pt x="9359" y="2424899"/>
                  </a:lnTo>
                  <a:lnTo>
                    <a:pt x="4673" y="2424899"/>
                  </a:lnTo>
                  <a:lnTo>
                    <a:pt x="9359" y="2429573"/>
                  </a:lnTo>
                  <a:lnTo>
                    <a:pt x="1829231" y="2429573"/>
                  </a:lnTo>
                  <a:lnTo>
                    <a:pt x="1829231" y="2434259"/>
                  </a:lnTo>
                  <a:close/>
                </a:path>
                <a:path w="1829435" h="2434590">
                  <a:moveTo>
                    <a:pt x="9359" y="9359"/>
                  </a:moveTo>
                  <a:lnTo>
                    <a:pt x="4673" y="9359"/>
                  </a:lnTo>
                  <a:lnTo>
                    <a:pt x="9359" y="4673"/>
                  </a:lnTo>
                  <a:lnTo>
                    <a:pt x="9359" y="9359"/>
                  </a:lnTo>
                  <a:close/>
                </a:path>
                <a:path w="1829435" h="2434590">
                  <a:moveTo>
                    <a:pt x="1819871" y="9359"/>
                  </a:moveTo>
                  <a:lnTo>
                    <a:pt x="9359" y="9359"/>
                  </a:lnTo>
                  <a:lnTo>
                    <a:pt x="9359" y="4673"/>
                  </a:lnTo>
                  <a:lnTo>
                    <a:pt x="1819871" y="4673"/>
                  </a:lnTo>
                  <a:lnTo>
                    <a:pt x="1819871" y="9359"/>
                  </a:lnTo>
                  <a:close/>
                </a:path>
                <a:path w="1829435" h="2434590">
                  <a:moveTo>
                    <a:pt x="1819871" y="2429573"/>
                  </a:moveTo>
                  <a:lnTo>
                    <a:pt x="1819871" y="4673"/>
                  </a:lnTo>
                  <a:lnTo>
                    <a:pt x="1824545" y="9359"/>
                  </a:lnTo>
                  <a:lnTo>
                    <a:pt x="1829231" y="9359"/>
                  </a:lnTo>
                  <a:lnTo>
                    <a:pt x="1829231" y="2424899"/>
                  </a:lnTo>
                  <a:lnTo>
                    <a:pt x="1824545" y="2424899"/>
                  </a:lnTo>
                  <a:lnTo>
                    <a:pt x="1819871" y="2429573"/>
                  </a:lnTo>
                  <a:close/>
                </a:path>
                <a:path w="1829435" h="2434590">
                  <a:moveTo>
                    <a:pt x="1829231" y="9359"/>
                  </a:moveTo>
                  <a:lnTo>
                    <a:pt x="1824545" y="9359"/>
                  </a:lnTo>
                  <a:lnTo>
                    <a:pt x="1819871" y="4673"/>
                  </a:lnTo>
                  <a:lnTo>
                    <a:pt x="1829231" y="4673"/>
                  </a:lnTo>
                  <a:lnTo>
                    <a:pt x="1829231" y="9359"/>
                  </a:lnTo>
                  <a:close/>
                </a:path>
                <a:path w="1829435" h="2434590">
                  <a:moveTo>
                    <a:pt x="9359" y="2429573"/>
                  </a:moveTo>
                  <a:lnTo>
                    <a:pt x="4673" y="2424899"/>
                  </a:lnTo>
                  <a:lnTo>
                    <a:pt x="9359" y="2424899"/>
                  </a:lnTo>
                  <a:lnTo>
                    <a:pt x="9359" y="2429573"/>
                  </a:lnTo>
                  <a:close/>
                </a:path>
                <a:path w="1829435" h="2434590">
                  <a:moveTo>
                    <a:pt x="1819871" y="2429573"/>
                  </a:moveTo>
                  <a:lnTo>
                    <a:pt x="9359" y="2429573"/>
                  </a:lnTo>
                  <a:lnTo>
                    <a:pt x="9359" y="2424899"/>
                  </a:lnTo>
                  <a:lnTo>
                    <a:pt x="1819871" y="2424899"/>
                  </a:lnTo>
                  <a:lnTo>
                    <a:pt x="1819871" y="2429573"/>
                  </a:lnTo>
                  <a:close/>
                </a:path>
                <a:path w="1829435" h="2434590">
                  <a:moveTo>
                    <a:pt x="1829231" y="2429573"/>
                  </a:moveTo>
                  <a:lnTo>
                    <a:pt x="1819871" y="2429573"/>
                  </a:lnTo>
                  <a:lnTo>
                    <a:pt x="1824545" y="2424899"/>
                  </a:lnTo>
                  <a:lnTo>
                    <a:pt x="1829231" y="2424899"/>
                  </a:lnTo>
                  <a:lnTo>
                    <a:pt x="1829231" y="2429573"/>
                  </a:lnTo>
                  <a:close/>
                </a:path>
              </a:pathLst>
            </a:custGeom>
            <a:solidFill>
              <a:srgbClr val="403052"/>
            </a:solidFill>
          </p:spPr>
          <p:txBody>
            <a:bodyPr wrap="square" lIns="0" tIns="0" rIns="0" bIns="0" rtlCol="0"/>
            <a:p/>
          </p:txBody>
        </p:sp>
      </p:grpSp>
      <p:grpSp>
        <p:nvGrpSpPr>
          <p:cNvPr id="72" name="object 9"/>
          <p:cNvGrpSpPr/>
          <p:nvPr/>
        </p:nvGrpSpPr>
        <p:grpSpPr>
          <a:xfrm>
            <a:off x="4943475" y="1624202"/>
            <a:ext cx="1784350" cy="2340610"/>
            <a:chOff x="4943475" y="1624202"/>
            <a:chExt cx="1784350" cy="2340610"/>
          </a:xfrm>
        </p:grpSpPr>
        <p:sp>
          <p:nvSpPr>
            <p:cNvPr id="73" name="object 10"/>
            <p:cNvSpPr/>
            <p:nvPr/>
          </p:nvSpPr>
          <p:spPr>
            <a:xfrm>
              <a:off x="4953000" y="1633727"/>
              <a:ext cx="1764792" cy="2321052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p/>
          </p:txBody>
        </p:sp>
        <p:sp>
          <p:nvSpPr>
            <p:cNvPr id="74" name="object 11"/>
            <p:cNvSpPr/>
            <p:nvPr/>
          </p:nvSpPr>
          <p:spPr>
            <a:xfrm>
              <a:off x="4943475" y="1624202"/>
              <a:ext cx="1784350" cy="2340610"/>
            </a:xfrm>
            <a:custGeom>
              <a:avLst/>
              <a:gdLst/>
              <a:ahLst/>
              <a:cxnLst/>
              <a:rect l="l" t="t" r="r" b="b"/>
              <a:pathLst>
                <a:path w="1784350" h="2340610">
                  <a:moveTo>
                    <a:pt x="1779079" y="2340102"/>
                  </a:moveTo>
                  <a:lnTo>
                    <a:pt x="4762" y="2340102"/>
                  </a:lnTo>
                  <a:lnTo>
                    <a:pt x="3289" y="2339873"/>
                  </a:lnTo>
                  <a:lnTo>
                    <a:pt x="1968" y="2339187"/>
                  </a:lnTo>
                  <a:lnTo>
                    <a:pt x="914" y="2338133"/>
                  </a:lnTo>
                  <a:lnTo>
                    <a:pt x="228" y="2336812"/>
                  </a:lnTo>
                  <a:lnTo>
                    <a:pt x="0" y="2335339"/>
                  </a:lnTo>
                  <a:lnTo>
                    <a:pt x="0" y="4762"/>
                  </a:lnTo>
                  <a:lnTo>
                    <a:pt x="4762" y="0"/>
                  </a:lnTo>
                  <a:lnTo>
                    <a:pt x="1779079" y="0"/>
                  </a:lnTo>
                  <a:lnTo>
                    <a:pt x="1783842" y="4762"/>
                  </a:lnTo>
                  <a:lnTo>
                    <a:pt x="9525" y="4762"/>
                  </a:lnTo>
                  <a:lnTo>
                    <a:pt x="4762" y="9525"/>
                  </a:lnTo>
                  <a:lnTo>
                    <a:pt x="9525" y="9525"/>
                  </a:lnTo>
                  <a:lnTo>
                    <a:pt x="9525" y="2330577"/>
                  </a:lnTo>
                  <a:lnTo>
                    <a:pt x="4762" y="2330577"/>
                  </a:lnTo>
                  <a:lnTo>
                    <a:pt x="9525" y="2335339"/>
                  </a:lnTo>
                  <a:lnTo>
                    <a:pt x="1783842" y="2335339"/>
                  </a:lnTo>
                  <a:lnTo>
                    <a:pt x="1783613" y="2336812"/>
                  </a:lnTo>
                  <a:lnTo>
                    <a:pt x="1782927" y="2338133"/>
                  </a:lnTo>
                  <a:lnTo>
                    <a:pt x="1781873" y="2339187"/>
                  </a:lnTo>
                  <a:lnTo>
                    <a:pt x="1780552" y="2339873"/>
                  </a:lnTo>
                  <a:lnTo>
                    <a:pt x="1779079" y="2340102"/>
                  </a:lnTo>
                  <a:close/>
                </a:path>
                <a:path w="1784350" h="2340610">
                  <a:moveTo>
                    <a:pt x="9525" y="9525"/>
                  </a:moveTo>
                  <a:lnTo>
                    <a:pt x="4762" y="9525"/>
                  </a:lnTo>
                  <a:lnTo>
                    <a:pt x="9525" y="4762"/>
                  </a:lnTo>
                  <a:lnTo>
                    <a:pt x="9525" y="9525"/>
                  </a:lnTo>
                  <a:close/>
                </a:path>
                <a:path w="1784350" h="2340610">
                  <a:moveTo>
                    <a:pt x="1774317" y="9525"/>
                  </a:moveTo>
                  <a:lnTo>
                    <a:pt x="9525" y="9525"/>
                  </a:lnTo>
                  <a:lnTo>
                    <a:pt x="9525" y="4762"/>
                  </a:lnTo>
                  <a:lnTo>
                    <a:pt x="1774317" y="4762"/>
                  </a:lnTo>
                  <a:lnTo>
                    <a:pt x="1774317" y="9525"/>
                  </a:lnTo>
                  <a:close/>
                </a:path>
                <a:path w="1784350" h="2340610">
                  <a:moveTo>
                    <a:pt x="1774317" y="2335339"/>
                  </a:moveTo>
                  <a:lnTo>
                    <a:pt x="1774317" y="4762"/>
                  </a:lnTo>
                  <a:lnTo>
                    <a:pt x="1779079" y="9525"/>
                  </a:lnTo>
                  <a:lnTo>
                    <a:pt x="1783842" y="9525"/>
                  </a:lnTo>
                  <a:lnTo>
                    <a:pt x="1783842" y="2330577"/>
                  </a:lnTo>
                  <a:lnTo>
                    <a:pt x="1779079" y="2330577"/>
                  </a:lnTo>
                  <a:lnTo>
                    <a:pt x="1774317" y="2335339"/>
                  </a:lnTo>
                  <a:close/>
                </a:path>
                <a:path w="1784350" h="2340610">
                  <a:moveTo>
                    <a:pt x="1783842" y="9525"/>
                  </a:moveTo>
                  <a:lnTo>
                    <a:pt x="1779079" y="9525"/>
                  </a:lnTo>
                  <a:lnTo>
                    <a:pt x="1774317" y="4762"/>
                  </a:lnTo>
                  <a:lnTo>
                    <a:pt x="1783842" y="4762"/>
                  </a:lnTo>
                  <a:lnTo>
                    <a:pt x="1783842" y="9525"/>
                  </a:lnTo>
                  <a:close/>
                </a:path>
                <a:path w="1784350" h="2340610">
                  <a:moveTo>
                    <a:pt x="9525" y="2335339"/>
                  </a:moveTo>
                  <a:lnTo>
                    <a:pt x="4762" y="2330577"/>
                  </a:lnTo>
                  <a:lnTo>
                    <a:pt x="9525" y="2330577"/>
                  </a:lnTo>
                  <a:lnTo>
                    <a:pt x="9525" y="2335339"/>
                  </a:lnTo>
                  <a:close/>
                </a:path>
                <a:path w="1784350" h="2340610">
                  <a:moveTo>
                    <a:pt x="1774317" y="2335339"/>
                  </a:moveTo>
                  <a:lnTo>
                    <a:pt x="9525" y="2335339"/>
                  </a:lnTo>
                  <a:lnTo>
                    <a:pt x="9525" y="2330577"/>
                  </a:lnTo>
                  <a:lnTo>
                    <a:pt x="1774317" y="2330577"/>
                  </a:lnTo>
                  <a:lnTo>
                    <a:pt x="1774317" y="2335339"/>
                  </a:lnTo>
                  <a:close/>
                </a:path>
                <a:path w="1784350" h="2340610">
                  <a:moveTo>
                    <a:pt x="1783842" y="2335339"/>
                  </a:moveTo>
                  <a:lnTo>
                    <a:pt x="1774317" y="2335339"/>
                  </a:lnTo>
                  <a:lnTo>
                    <a:pt x="1779079" y="2330577"/>
                  </a:lnTo>
                  <a:lnTo>
                    <a:pt x="1783842" y="2330577"/>
                  </a:lnTo>
                  <a:lnTo>
                    <a:pt x="1783842" y="2335339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p/>
          </p:txBody>
        </p:sp>
      </p:grpSp>
      <p:grpSp>
        <p:nvGrpSpPr>
          <p:cNvPr id="75" name="object 12"/>
          <p:cNvGrpSpPr/>
          <p:nvPr/>
        </p:nvGrpSpPr>
        <p:grpSpPr>
          <a:xfrm>
            <a:off x="6017895" y="4144898"/>
            <a:ext cx="1877060" cy="2346325"/>
            <a:chOff x="6017895" y="4144898"/>
            <a:chExt cx="1877060" cy="2346325"/>
          </a:xfrm>
        </p:grpSpPr>
        <p:sp>
          <p:nvSpPr>
            <p:cNvPr id="76" name="object 13"/>
            <p:cNvSpPr/>
            <p:nvPr/>
          </p:nvSpPr>
          <p:spPr>
            <a:xfrm>
              <a:off x="6027420" y="4154423"/>
              <a:ext cx="1857755" cy="2327148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p/>
          </p:txBody>
        </p:sp>
        <p:sp>
          <p:nvSpPr>
            <p:cNvPr id="77" name="object 14"/>
            <p:cNvSpPr/>
            <p:nvPr/>
          </p:nvSpPr>
          <p:spPr>
            <a:xfrm>
              <a:off x="6017895" y="4144898"/>
              <a:ext cx="1877060" cy="2346325"/>
            </a:xfrm>
            <a:custGeom>
              <a:avLst/>
              <a:gdLst/>
              <a:ahLst/>
              <a:cxnLst/>
              <a:rect l="l" t="t" r="r" b="b"/>
              <a:pathLst>
                <a:path w="1877059" h="2346325">
                  <a:moveTo>
                    <a:pt x="1872043" y="2346198"/>
                  </a:moveTo>
                  <a:lnTo>
                    <a:pt x="4762" y="2346198"/>
                  </a:lnTo>
                  <a:lnTo>
                    <a:pt x="3289" y="2345969"/>
                  </a:lnTo>
                  <a:lnTo>
                    <a:pt x="1968" y="2345283"/>
                  </a:lnTo>
                  <a:lnTo>
                    <a:pt x="914" y="2344229"/>
                  </a:lnTo>
                  <a:lnTo>
                    <a:pt x="228" y="2342908"/>
                  </a:lnTo>
                  <a:lnTo>
                    <a:pt x="0" y="2341435"/>
                  </a:lnTo>
                  <a:lnTo>
                    <a:pt x="0" y="4762"/>
                  </a:lnTo>
                  <a:lnTo>
                    <a:pt x="4762" y="0"/>
                  </a:lnTo>
                  <a:lnTo>
                    <a:pt x="1872043" y="0"/>
                  </a:lnTo>
                  <a:lnTo>
                    <a:pt x="1876805" y="4762"/>
                  </a:lnTo>
                  <a:lnTo>
                    <a:pt x="9525" y="4762"/>
                  </a:lnTo>
                  <a:lnTo>
                    <a:pt x="4762" y="9525"/>
                  </a:lnTo>
                  <a:lnTo>
                    <a:pt x="9525" y="9525"/>
                  </a:lnTo>
                  <a:lnTo>
                    <a:pt x="9525" y="2336673"/>
                  </a:lnTo>
                  <a:lnTo>
                    <a:pt x="4762" y="2336673"/>
                  </a:lnTo>
                  <a:lnTo>
                    <a:pt x="9525" y="2341435"/>
                  </a:lnTo>
                  <a:lnTo>
                    <a:pt x="1876805" y="2341435"/>
                  </a:lnTo>
                  <a:lnTo>
                    <a:pt x="1876577" y="2342908"/>
                  </a:lnTo>
                  <a:lnTo>
                    <a:pt x="1875891" y="2344229"/>
                  </a:lnTo>
                  <a:lnTo>
                    <a:pt x="1874837" y="2345283"/>
                  </a:lnTo>
                  <a:lnTo>
                    <a:pt x="1873516" y="2345969"/>
                  </a:lnTo>
                  <a:lnTo>
                    <a:pt x="1872043" y="2346198"/>
                  </a:lnTo>
                  <a:close/>
                </a:path>
                <a:path w="1877059" h="2346325">
                  <a:moveTo>
                    <a:pt x="9525" y="9525"/>
                  </a:moveTo>
                  <a:lnTo>
                    <a:pt x="4762" y="9525"/>
                  </a:lnTo>
                  <a:lnTo>
                    <a:pt x="9525" y="4762"/>
                  </a:lnTo>
                  <a:lnTo>
                    <a:pt x="9525" y="9525"/>
                  </a:lnTo>
                  <a:close/>
                </a:path>
                <a:path w="1877059" h="2346325">
                  <a:moveTo>
                    <a:pt x="1867280" y="9525"/>
                  </a:moveTo>
                  <a:lnTo>
                    <a:pt x="9525" y="9525"/>
                  </a:lnTo>
                  <a:lnTo>
                    <a:pt x="9525" y="4762"/>
                  </a:lnTo>
                  <a:lnTo>
                    <a:pt x="1867280" y="4762"/>
                  </a:lnTo>
                  <a:lnTo>
                    <a:pt x="1867280" y="9525"/>
                  </a:lnTo>
                  <a:close/>
                </a:path>
                <a:path w="1877059" h="2346325">
                  <a:moveTo>
                    <a:pt x="1867280" y="2341435"/>
                  </a:moveTo>
                  <a:lnTo>
                    <a:pt x="1867280" y="4762"/>
                  </a:lnTo>
                  <a:lnTo>
                    <a:pt x="1872043" y="9525"/>
                  </a:lnTo>
                  <a:lnTo>
                    <a:pt x="1876805" y="9525"/>
                  </a:lnTo>
                  <a:lnTo>
                    <a:pt x="1876805" y="2336673"/>
                  </a:lnTo>
                  <a:lnTo>
                    <a:pt x="1872043" y="2336673"/>
                  </a:lnTo>
                  <a:lnTo>
                    <a:pt x="1867280" y="2341435"/>
                  </a:lnTo>
                  <a:close/>
                </a:path>
                <a:path w="1877059" h="2346325">
                  <a:moveTo>
                    <a:pt x="1876805" y="9525"/>
                  </a:moveTo>
                  <a:lnTo>
                    <a:pt x="1872043" y="9525"/>
                  </a:lnTo>
                  <a:lnTo>
                    <a:pt x="1867280" y="4762"/>
                  </a:lnTo>
                  <a:lnTo>
                    <a:pt x="1876805" y="4762"/>
                  </a:lnTo>
                  <a:lnTo>
                    <a:pt x="1876805" y="9525"/>
                  </a:lnTo>
                  <a:close/>
                </a:path>
                <a:path w="1877059" h="2346325">
                  <a:moveTo>
                    <a:pt x="9525" y="2341435"/>
                  </a:moveTo>
                  <a:lnTo>
                    <a:pt x="4762" y="2336673"/>
                  </a:lnTo>
                  <a:lnTo>
                    <a:pt x="9525" y="2336673"/>
                  </a:lnTo>
                  <a:lnTo>
                    <a:pt x="9525" y="2341435"/>
                  </a:lnTo>
                  <a:close/>
                </a:path>
                <a:path w="1877059" h="2346325">
                  <a:moveTo>
                    <a:pt x="1867280" y="2341435"/>
                  </a:moveTo>
                  <a:lnTo>
                    <a:pt x="9525" y="2341435"/>
                  </a:lnTo>
                  <a:lnTo>
                    <a:pt x="9525" y="2336673"/>
                  </a:lnTo>
                  <a:lnTo>
                    <a:pt x="1867280" y="2336673"/>
                  </a:lnTo>
                  <a:lnTo>
                    <a:pt x="1867280" y="2341435"/>
                  </a:lnTo>
                  <a:close/>
                </a:path>
                <a:path w="1877059" h="2346325">
                  <a:moveTo>
                    <a:pt x="1876805" y="2341435"/>
                  </a:moveTo>
                  <a:lnTo>
                    <a:pt x="1867280" y="2341435"/>
                  </a:lnTo>
                  <a:lnTo>
                    <a:pt x="1872043" y="2336673"/>
                  </a:lnTo>
                  <a:lnTo>
                    <a:pt x="1876805" y="2336673"/>
                  </a:lnTo>
                  <a:lnTo>
                    <a:pt x="1876805" y="2341435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p/>
          </p:txBody>
        </p:sp>
      </p:grpSp>
      <p:grpSp>
        <p:nvGrpSpPr>
          <p:cNvPr id="78" name="object 15"/>
          <p:cNvGrpSpPr/>
          <p:nvPr/>
        </p:nvGrpSpPr>
        <p:grpSpPr>
          <a:xfrm>
            <a:off x="7086218" y="1633347"/>
            <a:ext cx="1700530" cy="2331085"/>
            <a:chOff x="7086218" y="1633347"/>
            <a:chExt cx="1700530" cy="2331085"/>
          </a:xfrm>
        </p:grpSpPr>
        <p:sp>
          <p:nvSpPr>
            <p:cNvPr id="79" name="object 16"/>
            <p:cNvSpPr/>
            <p:nvPr/>
          </p:nvSpPr>
          <p:spPr>
            <a:xfrm>
              <a:off x="7095743" y="1642872"/>
              <a:ext cx="1680972" cy="2311907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p/>
          </p:txBody>
        </p:sp>
        <p:sp>
          <p:nvSpPr>
            <p:cNvPr id="80" name="object 17"/>
            <p:cNvSpPr/>
            <p:nvPr/>
          </p:nvSpPr>
          <p:spPr>
            <a:xfrm>
              <a:off x="7086218" y="1633347"/>
              <a:ext cx="1700530" cy="2331085"/>
            </a:xfrm>
            <a:custGeom>
              <a:avLst/>
              <a:gdLst/>
              <a:ahLst/>
              <a:cxnLst/>
              <a:rect l="l" t="t" r="r" b="b"/>
              <a:pathLst>
                <a:path w="1700529" h="2331085">
                  <a:moveTo>
                    <a:pt x="1695259" y="2330957"/>
                  </a:moveTo>
                  <a:lnTo>
                    <a:pt x="4762" y="2330957"/>
                  </a:lnTo>
                  <a:lnTo>
                    <a:pt x="3289" y="2330729"/>
                  </a:lnTo>
                  <a:lnTo>
                    <a:pt x="1968" y="2330043"/>
                  </a:lnTo>
                  <a:lnTo>
                    <a:pt x="914" y="2328989"/>
                  </a:lnTo>
                  <a:lnTo>
                    <a:pt x="228" y="2327668"/>
                  </a:lnTo>
                  <a:lnTo>
                    <a:pt x="0" y="2326195"/>
                  </a:lnTo>
                  <a:lnTo>
                    <a:pt x="0" y="4762"/>
                  </a:lnTo>
                  <a:lnTo>
                    <a:pt x="4762" y="0"/>
                  </a:lnTo>
                  <a:lnTo>
                    <a:pt x="1695259" y="0"/>
                  </a:lnTo>
                  <a:lnTo>
                    <a:pt x="1700022" y="4762"/>
                  </a:lnTo>
                  <a:lnTo>
                    <a:pt x="9525" y="4762"/>
                  </a:lnTo>
                  <a:lnTo>
                    <a:pt x="4762" y="9525"/>
                  </a:lnTo>
                  <a:lnTo>
                    <a:pt x="9525" y="9525"/>
                  </a:lnTo>
                  <a:lnTo>
                    <a:pt x="9525" y="2321432"/>
                  </a:lnTo>
                  <a:lnTo>
                    <a:pt x="4762" y="2321432"/>
                  </a:lnTo>
                  <a:lnTo>
                    <a:pt x="9525" y="2326195"/>
                  </a:lnTo>
                  <a:lnTo>
                    <a:pt x="1700022" y="2326195"/>
                  </a:lnTo>
                  <a:lnTo>
                    <a:pt x="1699793" y="2327668"/>
                  </a:lnTo>
                  <a:lnTo>
                    <a:pt x="1699107" y="2328989"/>
                  </a:lnTo>
                  <a:lnTo>
                    <a:pt x="1698053" y="2330043"/>
                  </a:lnTo>
                  <a:lnTo>
                    <a:pt x="1696732" y="2330729"/>
                  </a:lnTo>
                  <a:lnTo>
                    <a:pt x="1695259" y="2330957"/>
                  </a:lnTo>
                  <a:close/>
                </a:path>
                <a:path w="1700529" h="2331085">
                  <a:moveTo>
                    <a:pt x="9525" y="9525"/>
                  </a:moveTo>
                  <a:lnTo>
                    <a:pt x="4762" y="9525"/>
                  </a:lnTo>
                  <a:lnTo>
                    <a:pt x="9525" y="4762"/>
                  </a:lnTo>
                  <a:lnTo>
                    <a:pt x="9525" y="9525"/>
                  </a:lnTo>
                  <a:close/>
                </a:path>
                <a:path w="1700529" h="2331085">
                  <a:moveTo>
                    <a:pt x="1690497" y="9525"/>
                  </a:moveTo>
                  <a:lnTo>
                    <a:pt x="9525" y="9525"/>
                  </a:lnTo>
                  <a:lnTo>
                    <a:pt x="9525" y="4762"/>
                  </a:lnTo>
                  <a:lnTo>
                    <a:pt x="1690497" y="4762"/>
                  </a:lnTo>
                  <a:lnTo>
                    <a:pt x="1690497" y="9525"/>
                  </a:lnTo>
                  <a:close/>
                </a:path>
                <a:path w="1700529" h="2331085">
                  <a:moveTo>
                    <a:pt x="1690497" y="2326195"/>
                  </a:moveTo>
                  <a:lnTo>
                    <a:pt x="1690497" y="4762"/>
                  </a:lnTo>
                  <a:lnTo>
                    <a:pt x="1695259" y="9525"/>
                  </a:lnTo>
                  <a:lnTo>
                    <a:pt x="1700022" y="9525"/>
                  </a:lnTo>
                  <a:lnTo>
                    <a:pt x="1700022" y="2321432"/>
                  </a:lnTo>
                  <a:lnTo>
                    <a:pt x="1695259" y="2321432"/>
                  </a:lnTo>
                  <a:lnTo>
                    <a:pt x="1690497" y="2326195"/>
                  </a:lnTo>
                  <a:close/>
                </a:path>
                <a:path w="1700529" h="2331085">
                  <a:moveTo>
                    <a:pt x="1700022" y="9525"/>
                  </a:moveTo>
                  <a:lnTo>
                    <a:pt x="1695259" y="9525"/>
                  </a:lnTo>
                  <a:lnTo>
                    <a:pt x="1690497" y="4762"/>
                  </a:lnTo>
                  <a:lnTo>
                    <a:pt x="1700022" y="4762"/>
                  </a:lnTo>
                  <a:lnTo>
                    <a:pt x="1700022" y="9525"/>
                  </a:lnTo>
                  <a:close/>
                </a:path>
                <a:path w="1700529" h="2331085">
                  <a:moveTo>
                    <a:pt x="9525" y="2326195"/>
                  </a:moveTo>
                  <a:lnTo>
                    <a:pt x="4762" y="2321432"/>
                  </a:lnTo>
                  <a:lnTo>
                    <a:pt x="9525" y="2321432"/>
                  </a:lnTo>
                  <a:lnTo>
                    <a:pt x="9525" y="2326195"/>
                  </a:lnTo>
                  <a:close/>
                </a:path>
                <a:path w="1700529" h="2331085">
                  <a:moveTo>
                    <a:pt x="1690497" y="2326195"/>
                  </a:moveTo>
                  <a:lnTo>
                    <a:pt x="9525" y="2326195"/>
                  </a:lnTo>
                  <a:lnTo>
                    <a:pt x="9525" y="2321432"/>
                  </a:lnTo>
                  <a:lnTo>
                    <a:pt x="1690497" y="2321432"/>
                  </a:lnTo>
                  <a:lnTo>
                    <a:pt x="1690497" y="2326195"/>
                  </a:lnTo>
                  <a:close/>
                </a:path>
                <a:path w="1700529" h="2331085">
                  <a:moveTo>
                    <a:pt x="1700022" y="2326195"/>
                  </a:moveTo>
                  <a:lnTo>
                    <a:pt x="1690497" y="2326195"/>
                  </a:lnTo>
                  <a:lnTo>
                    <a:pt x="1695259" y="2321432"/>
                  </a:lnTo>
                  <a:lnTo>
                    <a:pt x="1700022" y="2321432"/>
                  </a:lnTo>
                  <a:lnTo>
                    <a:pt x="1700022" y="2326195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p/>
          </p:txBody>
        </p:sp>
      </p:grpSp>
      <p:grpSp>
        <p:nvGrpSpPr>
          <p:cNvPr id="81" name="object 18"/>
          <p:cNvGrpSpPr/>
          <p:nvPr/>
        </p:nvGrpSpPr>
        <p:grpSpPr>
          <a:xfrm>
            <a:off x="109346" y="1525142"/>
            <a:ext cx="1823720" cy="2360295"/>
            <a:chOff x="109346" y="1525142"/>
            <a:chExt cx="1823720" cy="2360295"/>
          </a:xfrm>
        </p:grpSpPr>
        <p:sp>
          <p:nvSpPr>
            <p:cNvPr id="82" name="object 19"/>
            <p:cNvSpPr/>
            <p:nvPr/>
          </p:nvSpPr>
          <p:spPr>
            <a:xfrm>
              <a:off x="118871" y="1534667"/>
              <a:ext cx="1804415" cy="2340864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p/>
          </p:txBody>
        </p:sp>
        <p:sp>
          <p:nvSpPr>
            <p:cNvPr id="83" name="object 20"/>
            <p:cNvSpPr/>
            <p:nvPr/>
          </p:nvSpPr>
          <p:spPr>
            <a:xfrm>
              <a:off x="109346" y="1525142"/>
              <a:ext cx="1823720" cy="2360295"/>
            </a:xfrm>
            <a:custGeom>
              <a:avLst/>
              <a:gdLst/>
              <a:ahLst/>
              <a:cxnLst/>
              <a:rect l="l" t="t" r="r" b="b"/>
              <a:pathLst>
                <a:path w="1823720" h="2360295">
                  <a:moveTo>
                    <a:pt x="1818703" y="2359914"/>
                  </a:moveTo>
                  <a:lnTo>
                    <a:pt x="4762" y="2359914"/>
                  </a:lnTo>
                  <a:lnTo>
                    <a:pt x="3289" y="2359685"/>
                  </a:lnTo>
                  <a:lnTo>
                    <a:pt x="1968" y="2358999"/>
                  </a:lnTo>
                  <a:lnTo>
                    <a:pt x="914" y="2357945"/>
                  </a:lnTo>
                  <a:lnTo>
                    <a:pt x="228" y="2356624"/>
                  </a:lnTo>
                  <a:lnTo>
                    <a:pt x="0" y="2355151"/>
                  </a:lnTo>
                  <a:lnTo>
                    <a:pt x="0" y="4762"/>
                  </a:lnTo>
                  <a:lnTo>
                    <a:pt x="4762" y="0"/>
                  </a:lnTo>
                  <a:lnTo>
                    <a:pt x="1818703" y="0"/>
                  </a:lnTo>
                  <a:lnTo>
                    <a:pt x="1823465" y="4762"/>
                  </a:lnTo>
                  <a:lnTo>
                    <a:pt x="9525" y="4762"/>
                  </a:lnTo>
                  <a:lnTo>
                    <a:pt x="4762" y="9524"/>
                  </a:lnTo>
                  <a:lnTo>
                    <a:pt x="9525" y="9524"/>
                  </a:lnTo>
                  <a:lnTo>
                    <a:pt x="9525" y="2350388"/>
                  </a:lnTo>
                  <a:lnTo>
                    <a:pt x="4762" y="2350389"/>
                  </a:lnTo>
                  <a:lnTo>
                    <a:pt x="9525" y="2355151"/>
                  </a:lnTo>
                  <a:lnTo>
                    <a:pt x="1823465" y="2355151"/>
                  </a:lnTo>
                  <a:lnTo>
                    <a:pt x="1823237" y="2356624"/>
                  </a:lnTo>
                  <a:lnTo>
                    <a:pt x="1822551" y="2357945"/>
                  </a:lnTo>
                  <a:lnTo>
                    <a:pt x="1821497" y="2358999"/>
                  </a:lnTo>
                  <a:lnTo>
                    <a:pt x="1820176" y="2359685"/>
                  </a:lnTo>
                  <a:lnTo>
                    <a:pt x="1818703" y="2359914"/>
                  </a:lnTo>
                  <a:close/>
                </a:path>
                <a:path w="1823720" h="2360295">
                  <a:moveTo>
                    <a:pt x="9525" y="9524"/>
                  </a:moveTo>
                  <a:lnTo>
                    <a:pt x="4762" y="9524"/>
                  </a:lnTo>
                  <a:lnTo>
                    <a:pt x="9525" y="4762"/>
                  </a:lnTo>
                  <a:lnTo>
                    <a:pt x="9525" y="9524"/>
                  </a:lnTo>
                  <a:close/>
                </a:path>
                <a:path w="1823720" h="2360295">
                  <a:moveTo>
                    <a:pt x="1813940" y="9524"/>
                  </a:moveTo>
                  <a:lnTo>
                    <a:pt x="9525" y="9524"/>
                  </a:lnTo>
                  <a:lnTo>
                    <a:pt x="9525" y="4762"/>
                  </a:lnTo>
                  <a:lnTo>
                    <a:pt x="1813940" y="4762"/>
                  </a:lnTo>
                  <a:lnTo>
                    <a:pt x="1813940" y="9524"/>
                  </a:lnTo>
                  <a:close/>
                </a:path>
                <a:path w="1823720" h="2360295">
                  <a:moveTo>
                    <a:pt x="1813940" y="2355151"/>
                  </a:moveTo>
                  <a:lnTo>
                    <a:pt x="1813940" y="4762"/>
                  </a:lnTo>
                  <a:lnTo>
                    <a:pt x="1818703" y="9524"/>
                  </a:lnTo>
                  <a:lnTo>
                    <a:pt x="1823465" y="9524"/>
                  </a:lnTo>
                  <a:lnTo>
                    <a:pt x="1823465" y="2350389"/>
                  </a:lnTo>
                  <a:lnTo>
                    <a:pt x="1818703" y="2350389"/>
                  </a:lnTo>
                  <a:lnTo>
                    <a:pt x="1813940" y="2355151"/>
                  </a:lnTo>
                  <a:close/>
                </a:path>
                <a:path w="1823720" h="2360295">
                  <a:moveTo>
                    <a:pt x="1823465" y="9524"/>
                  </a:moveTo>
                  <a:lnTo>
                    <a:pt x="1818703" y="9524"/>
                  </a:lnTo>
                  <a:lnTo>
                    <a:pt x="1813940" y="4762"/>
                  </a:lnTo>
                  <a:lnTo>
                    <a:pt x="1823465" y="4762"/>
                  </a:lnTo>
                  <a:lnTo>
                    <a:pt x="1823465" y="9524"/>
                  </a:lnTo>
                  <a:close/>
                </a:path>
                <a:path w="1823720" h="2360295">
                  <a:moveTo>
                    <a:pt x="9525" y="2355151"/>
                  </a:moveTo>
                  <a:lnTo>
                    <a:pt x="4762" y="2350389"/>
                  </a:lnTo>
                  <a:lnTo>
                    <a:pt x="9525" y="2350389"/>
                  </a:lnTo>
                  <a:lnTo>
                    <a:pt x="9525" y="2355151"/>
                  </a:lnTo>
                  <a:close/>
                </a:path>
                <a:path w="1823720" h="2360295">
                  <a:moveTo>
                    <a:pt x="1813940" y="2355151"/>
                  </a:moveTo>
                  <a:lnTo>
                    <a:pt x="9525" y="2355151"/>
                  </a:lnTo>
                  <a:lnTo>
                    <a:pt x="9525" y="2350389"/>
                  </a:lnTo>
                  <a:lnTo>
                    <a:pt x="1813940" y="2350389"/>
                  </a:lnTo>
                  <a:lnTo>
                    <a:pt x="1813940" y="2355151"/>
                  </a:lnTo>
                  <a:close/>
                </a:path>
                <a:path w="1823720" h="2360295">
                  <a:moveTo>
                    <a:pt x="1823465" y="2355151"/>
                  </a:moveTo>
                  <a:lnTo>
                    <a:pt x="1813940" y="2355151"/>
                  </a:lnTo>
                  <a:lnTo>
                    <a:pt x="1818703" y="2350389"/>
                  </a:lnTo>
                  <a:lnTo>
                    <a:pt x="1823465" y="2350389"/>
                  </a:lnTo>
                  <a:lnTo>
                    <a:pt x="1823465" y="2355151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p/>
          </p:txBody>
        </p:sp>
      </p:grpSp>
      <p:grpSp>
        <p:nvGrpSpPr>
          <p:cNvPr id="84" name="object 21"/>
          <p:cNvGrpSpPr/>
          <p:nvPr/>
        </p:nvGrpSpPr>
        <p:grpSpPr>
          <a:xfrm>
            <a:off x="2369413" y="1535785"/>
            <a:ext cx="1782445" cy="2352675"/>
            <a:chOff x="2369413" y="1535785"/>
            <a:chExt cx="1782445" cy="2352675"/>
          </a:xfrm>
        </p:grpSpPr>
        <p:sp>
          <p:nvSpPr>
            <p:cNvPr id="85" name="object 22"/>
            <p:cNvSpPr/>
            <p:nvPr/>
          </p:nvSpPr>
          <p:spPr>
            <a:xfrm>
              <a:off x="2382011" y="1548384"/>
              <a:ext cx="1757172" cy="2327148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p/>
          </p:txBody>
        </p:sp>
        <p:sp>
          <p:nvSpPr>
            <p:cNvPr id="86" name="object 23"/>
            <p:cNvSpPr/>
            <p:nvPr/>
          </p:nvSpPr>
          <p:spPr>
            <a:xfrm>
              <a:off x="2369413" y="1535785"/>
              <a:ext cx="1782445" cy="2352675"/>
            </a:xfrm>
            <a:custGeom>
              <a:avLst/>
              <a:gdLst/>
              <a:ahLst/>
              <a:cxnLst/>
              <a:rect l="l" t="t" r="r" b="b"/>
              <a:pathLst>
                <a:path w="1782445" h="2352675">
                  <a:moveTo>
                    <a:pt x="1782368" y="2352344"/>
                  </a:moveTo>
                  <a:lnTo>
                    <a:pt x="0" y="2352344"/>
                  </a:lnTo>
                  <a:lnTo>
                    <a:pt x="0" y="0"/>
                  </a:lnTo>
                  <a:lnTo>
                    <a:pt x="1782368" y="0"/>
                  </a:lnTo>
                  <a:lnTo>
                    <a:pt x="1782368" y="6299"/>
                  </a:lnTo>
                  <a:lnTo>
                    <a:pt x="12598" y="6299"/>
                  </a:lnTo>
                  <a:lnTo>
                    <a:pt x="6299" y="12598"/>
                  </a:lnTo>
                  <a:lnTo>
                    <a:pt x="12598" y="12598"/>
                  </a:lnTo>
                  <a:lnTo>
                    <a:pt x="12598" y="2339746"/>
                  </a:lnTo>
                  <a:lnTo>
                    <a:pt x="6299" y="2339746"/>
                  </a:lnTo>
                  <a:lnTo>
                    <a:pt x="12598" y="2346045"/>
                  </a:lnTo>
                  <a:lnTo>
                    <a:pt x="1782368" y="2346045"/>
                  </a:lnTo>
                  <a:lnTo>
                    <a:pt x="1782368" y="2352344"/>
                  </a:lnTo>
                  <a:close/>
                </a:path>
                <a:path w="1782445" h="2352675">
                  <a:moveTo>
                    <a:pt x="12598" y="12598"/>
                  </a:moveTo>
                  <a:lnTo>
                    <a:pt x="6299" y="12598"/>
                  </a:lnTo>
                  <a:lnTo>
                    <a:pt x="12598" y="6299"/>
                  </a:lnTo>
                  <a:lnTo>
                    <a:pt x="12598" y="12598"/>
                  </a:lnTo>
                  <a:close/>
                </a:path>
                <a:path w="1782445" h="2352675">
                  <a:moveTo>
                    <a:pt x="1769770" y="12598"/>
                  </a:moveTo>
                  <a:lnTo>
                    <a:pt x="12598" y="12598"/>
                  </a:lnTo>
                  <a:lnTo>
                    <a:pt x="12598" y="6299"/>
                  </a:lnTo>
                  <a:lnTo>
                    <a:pt x="1769770" y="6299"/>
                  </a:lnTo>
                  <a:lnTo>
                    <a:pt x="1769770" y="12598"/>
                  </a:lnTo>
                  <a:close/>
                </a:path>
                <a:path w="1782445" h="2352675">
                  <a:moveTo>
                    <a:pt x="1769770" y="2346045"/>
                  </a:moveTo>
                  <a:lnTo>
                    <a:pt x="1769770" y="6299"/>
                  </a:lnTo>
                  <a:lnTo>
                    <a:pt x="1776069" y="12598"/>
                  </a:lnTo>
                  <a:lnTo>
                    <a:pt x="1782368" y="12598"/>
                  </a:lnTo>
                  <a:lnTo>
                    <a:pt x="1782368" y="2339746"/>
                  </a:lnTo>
                  <a:lnTo>
                    <a:pt x="1776069" y="2339746"/>
                  </a:lnTo>
                  <a:lnTo>
                    <a:pt x="1769770" y="2346045"/>
                  </a:lnTo>
                  <a:close/>
                </a:path>
                <a:path w="1782445" h="2352675">
                  <a:moveTo>
                    <a:pt x="1782368" y="12598"/>
                  </a:moveTo>
                  <a:lnTo>
                    <a:pt x="1776069" y="12598"/>
                  </a:lnTo>
                  <a:lnTo>
                    <a:pt x="1769770" y="6299"/>
                  </a:lnTo>
                  <a:lnTo>
                    <a:pt x="1782368" y="6299"/>
                  </a:lnTo>
                  <a:lnTo>
                    <a:pt x="1782368" y="12598"/>
                  </a:lnTo>
                  <a:close/>
                </a:path>
                <a:path w="1782445" h="2352675">
                  <a:moveTo>
                    <a:pt x="12598" y="2346045"/>
                  </a:moveTo>
                  <a:lnTo>
                    <a:pt x="6299" y="2339746"/>
                  </a:lnTo>
                  <a:lnTo>
                    <a:pt x="12598" y="2339746"/>
                  </a:lnTo>
                  <a:lnTo>
                    <a:pt x="12598" y="2346045"/>
                  </a:lnTo>
                  <a:close/>
                </a:path>
                <a:path w="1782445" h="2352675">
                  <a:moveTo>
                    <a:pt x="1769770" y="2346045"/>
                  </a:moveTo>
                  <a:lnTo>
                    <a:pt x="12598" y="2346045"/>
                  </a:lnTo>
                  <a:lnTo>
                    <a:pt x="12598" y="2339746"/>
                  </a:lnTo>
                  <a:lnTo>
                    <a:pt x="1769770" y="2339746"/>
                  </a:lnTo>
                  <a:lnTo>
                    <a:pt x="1769770" y="2346045"/>
                  </a:lnTo>
                  <a:close/>
                </a:path>
                <a:path w="1782445" h="2352675">
                  <a:moveTo>
                    <a:pt x="1782368" y="2346045"/>
                  </a:moveTo>
                  <a:lnTo>
                    <a:pt x="1769770" y="2346045"/>
                  </a:lnTo>
                  <a:lnTo>
                    <a:pt x="1776069" y="2339746"/>
                  </a:lnTo>
                  <a:lnTo>
                    <a:pt x="1782368" y="2339746"/>
                  </a:lnTo>
                  <a:lnTo>
                    <a:pt x="1782368" y="2346045"/>
                  </a:lnTo>
                  <a:close/>
                </a:path>
              </a:pathLst>
            </a:custGeom>
            <a:solidFill>
              <a:srgbClr val="525252"/>
            </a:solidFill>
          </p:spPr>
          <p:txBody>
            <a:bodyPr wrap="square" lIns="0" tIns="0" rIns="0" bIns="0" rtlCol="0"/>
            <a:p/>
          </p:txBody>
        </p:sp>
      </p:grpSp>
      <p:sp>
        <p:nvSpPr>
          <p:cNvPr id="87" name="object 25"/>
          <p:cNvSpPr txBox="1"/>
          <p:nvPr/>
        </p:nvSpPr>
        <p:spPr>
          <a:xfrm>
            <a:off x="271462" y="918210"/>
            <a:ext cx="8416290" cy="331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4742815" algn="l"/>
              </a:tabLst>
            </a:pPr>
            <a:r>
              <a:rPr sz="2000" b="1" i="1" spc="-5" dirty="0">
                <a:solidFill>
                  <a:srgbClr val="001F5F"/>
                </a:solidFill>
                <a:latin typeface="Arial" panose="020B0604020202020204"/>
                <a:cs typeface="Arial" panose="020B0604020202020204"/>
              </a:rPr>
              <a:t>Основная</a:t>
            </a:r>
            <a:r>
              <a:rPr sz="2000" b="1" i="1" spc="5" dirty="0">
                <a:solidFill>
                  <a:srgbClr val="001F5F"/>
                </a:solidFill>
                <a:latin typeface="Arial" panose="020B0604020202020204"/>
                <a:cs typeface="Arial" panose="020B0604020202020204"/>
              </a:rPr>
              <a:t> </a:t>
            </a:r>
            <a:r>
              <a:rPr sz="2000" b="1" i="1" spc="-15" dirty="0">
                <a:solidFill>
                  <a:srgbClr val="001F5F"/>
                </a:solidFill>
                <a:latin typeface="Arial" panose="020B0604020202020204"/>
                <a:cs typeface="Arial" panose="020B0604020202020204"/>
              </a:rPr>
              <a:t>ступень</a:t>
            </a:r>
            <a:r>
              <a:rPr sz="2000" b="1" i="1" spc="10" dirty="0">
                <a:solidFill>
                  <a:srgbClr val="001F5F"/>
                </a:solidFill>
                <a:latin typeface="Arial" panose="020B0604020202020204"/>
                <a:cs typeface="Arial" panose="020B0604020202020204"/>
              </a:rPr>
              <a:t> </a:t>
            </a:r>
            <a:r>
              <a:rPr sz="2000" b="1" i="1" spc="-10" dirty="0">
                <a:solidFill>
                  <a:srgbClr val="001F5F"/>
                </a:solidFill>
                <a:latin typeface="Arial" panose="020B0604020202020204"/>
                <a:cs typeface="Arial" panose="020B0604020202020204"/>
              </a:rPr>
              <a:t>обучения	</a:t>
            </a:r>
            <a:r>
              <a:rPr sz="2000" b="1" i="1" spc="-5" dirty="0">
                <a:solidFill>
                  <a:srgbClr val="001F5F"/>
                </a:solidFill>
                <a:latin typeface="Arial" panose="020B0604020202020204"/>
                <a:cs typeface="Arial" panose="020B0604020202020204"/>
              </a:rPr>
              <a:t>Старшая </a:t>
            </a:r>
            <a:r>
              <a:rPr sz="2000" b="1" i="1" spc="-15" dirty="0">
                <a:solidFill>
                  <a:srgbClr val="001F5F"/>
                </a:solidFill>
                <a:latin typeface="Arial" panose="020B0604020202020204"/>
                <a:cs typeface="Arial" panose="020B0604020202020204"/>
              </a:rPr>
              <a:t>ступень</a:t>
            </a:r>
            <a:r>
              <a:rPr sz="2000" b="1" i="1" spc="-40" dirty="0">
                <a:solidFill>
                  <a:srgbClr val="001F5F"/>
                </a:solidFill>
                <a:latin typeface="Arial" panose="020B0604020202020204"/>
                <a:cs typeface="Arial" panose="020B0604020202020204"/>
              </a:rPr>
              <a:t> </a:t>
            </a:r>
            <a:r>
              <a:rPr sz="2000" b="1" i="1" spc="-10" dirty="0">
                <a:solidFill>
                  <a:srgbClr val="001F5F"/>
                </a:solidFill>
                <a:latin typeface="Arial" panose="020B0604020202020204"/>
                <a:cs typeface="Arial" panose="020B0604020202020204"/>
              </a:rPr>
              <a:t>обучения</a:t>
            </a:r>
            <a:endParaRPr sz="2000">
              <a:latin typeface="Arial" panose="020B0604020202020204"/>
              <a:cs typeface="Arial" panose="020B0604020202020204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6787895"/>
            <a:ext cx="9144000" cy="70104"/>
          </a:xfrm>
          <a:prstGeom prst="rect">
            <a:avLst/>
          </a:prstGeom>
          <a:blipFill>
            <a:blip r:embed="rId1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sp>
        <p:nvSpPr>
          <p:cNvPr id="3" name="object 3"/>
          <p:cNvSpPr/>
          <p:nvPr/>
        </p:nvSpPr>
        <p:spPr>
          <a:xfrm>
            <a:off x="0" y="814536"/>
            <a:ext cx="9144000" cy="3808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sp>
        <p:nvSpPr>
          <p:cNvPr id="4" name="object 4"/>
          <p:cNvSpPr/>
          <p:nvPr/>
        </p:nvSpPr>
        <p:spPr>
          <a:xfrm>
            <a:off x="0" y="6486144"/>
            <a:ext cx="2807208" cy="37185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xfrm>
            <a:off x="2347595" y="215901"/>
            <a:ext cx="6511290" cy="386080"/>
          </a:xfrm>
          <a:prstGeom prst="rect">
            <a:avLst/>
          </a:prstGeom>
        </p:spPr>
        <p:txBody>
          <a:bodyPr vert="horz" wrap="square" lIns="0" tIns="53975" rIns="0" bIns="0" rtlCol="0">
            <a:spAutoFit/>
          </a:bodyPr>
          <a:lstStyle/>
          <a:p>
            <a:pPr marL="12700" marR="5080" indent="1009015" algn="l">
              <a:lnSpc>
                <a:spcPts val="2590"/>
              </a:lnSpc>
              <a:spcBef>
                <a:spcPts val="425"/>
              </a:spcBef>
              <a:tabLst>
                <a:tab pos="2203450" algn="l"/>
              </a:tabLst>
            </a:pPr>
            <a:r>
              <a:rPr lang="ru-RU" sz="2600" b="1" kern="1200" spc="-4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Ресурсы УМК и учебных пособий</a:t>
            </a:r>
            <a:endParaRPr lang="ru-RU" sz="2600" b="1" kern="1200" spc="-4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207390" y="50292"/>
            <a:ext cx="1726024" cy="74675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/>
        </p:txBody>
      </p:sp>
      <p:sp>
        <p:nvSpPr>
          <p:cNvPr id="56" name="Текстовое поле 55"/>
          <p:cNvSpPr txBox="1"/>
          <p:nvPr/>
        </p:nvSpPr>
        <p:spPr>
          <a:xfrm>
            <a:off x="93345" y="938530"/>
            <a:ext cx="9050655" cy="5505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eaLnBrk="1" latinLnBrk="0">
              <a:lnSpc>
                <a:spcPct val="110000"/>
              </a:lnSpc>
            </a:pPr>
            <a:r>
              <a:rPr lang="ru-RU" altLang="en-US" sz="2200" b="1">
                <a:solidFill>
                  <a:srgbClr val="C91B2C"/>
                </a:solidFill>
              </a:rPr>
              <a:t>Многие задания в учебниках и пособиях шлейфа направлены на формирование функциональной грамотности, поскольку, по сути, это метапредметные результаты обучения:</a:t>
            </a:r>
            <a:endParaRPr lang="ru-RU" altLang="en-US" sz="2200" b="1">
              <a:gradFill>
                <a:gsLst>
                  <a:gs pos="0">
                    <a:srgbClr val="7B32B2"/>
                  </a:gs>
                  <a:gs pos="100000">
                    <a:srgbClr val="401A5D"/>
                  </a:gs>
                </a:gsLst>
                <a:lin scaled="0"/>
              </a:gradFill>
            </a:endParaRPr>
          </a:p>
          <a:p>
            <a:pPr marL="342900" indent="-342900" eaLnBrk="1" latinLnBrk="0">
              <a:lnSpc>
                <a:spcPct val="110000"/>
              </a:lnSpc>
              <a:buFont typeface="Wingdings" panose="05000000000000000000" charset="0"/>
              <a:buChar char="Ø"/>
            </a:pPr>
            <a:r>
              <a:rPr lang="ru-RU" altLang="en-US" sz="2000" b="1">
                <a:solidFill>
                  <a:schemeClr val="tx2">
                    <a:lumMod val="75000"/>
                    <a:lumOff val="25000"/>
                  </a:schemeClr>
                </a:solidFill>
              </a:rPr>
              <a:t>Работа с текстом</a:t>
            </a:r>
            <a:endParaRPr lang="ru-RU" altLang="en-US" sz="2000" b="1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342900" indent="-342900" eaLnBrk="1" latinLnBrk="0">
              <a:lnSpc>
                <a:spcPct val="110000"/>
              </a:lnSpc>
              <a:buFont typeface="Wingdings" panose="05000000000000000000" charset="0"/>
              <a:buChar char="Ø"/>
            </a:pPr>
            <a:r>
              <a:rPr lang="ru-RU" altLang="en-US" sz="2000" b="1">
                <a:solidFill>
                  <a:schemeClr val="tx2">
                    <a:lumMod val="75000"/>
                    <a:lumOff val="25000"/>
                  </a:schemeClr>
                </a:solidFill>
              </a:rPr>
              <a:t>Опорный конспект</a:t>
            </a:r>
            <a:endParaRPr lang="ru-RU" altLang="en-US" sz="2000" b="1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342900" indent="-342900" eaLnBrk="1" latinLnBrk="0">
              <a:lnSpc>
                <a:spcPct val="110000"/>
              </a:lnSpc>
              <a:buFont typeface="Wingdings" panose="05000000000000000000" charset="0"/>
              <a:buChar char="Ø"/>
            </a:pPr>
            <a:r>
              <a:rPr lang="ru-RU" altLang="en-US" sz="2000" b="1">
                <a:solidFill>
                  <a:schemeClr val="tx2">
                    <a:lumMod val="75000"/>
                    <a:lumOff val="25000"/>
                  </a:schemeClr>
                </a:solidFill>
              </a:rPr>
              <a:t>Работа с информацией в нетекстовом виде</a:t>
            </a:r>
            <a:endParaRPr lang="ru-RU" altLang="en-US" sz="2000" b="1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342900" indent="-342900" eaLnBrk="1" latinLnBrk="0">
              <a:lnSpc>
                <a:spcPct val="110000"/>
              </a:lnSpc>
              <a:buFont typeface="Wingdings" panose="05000000000000000000" charset="0"/>
              <a:buChar char="Ø"/>
            </a:pPr>
            <a:r>
              <a:rPr lang="ru-RU" altLang="en-US" sz="2000" b="1">
                <a:solidFill>
                  <a:schemeClr val="tx2">
                    <a:lumMod val="75000"/>
                    <a:lumOff val="25000"/>
                  </a:schemeClr>
                </a:solidFill>
              </a:rPr>
              <a:t>Задания:</a:t>
            </a:r>
            <a:endParaRPr lang="ru-RU" altLang="en-US" sz="2000" b="1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1080135" indent="0" eaLnBrk="1" latinLnBrk="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altLang="en-US" sz="2000" b="1">
                <a:solidFill>
                  <a:schemeClr val="tx2">
                    <a:lumMod val="75000"/>
                    <a:lumOff val="25000"/>
                  </a:schemeClr>
                </a:solidFill>
              </a:rPr>
              <a:t>объясните...</a:t>
            </a:r>
            <a:endParaRPr lang="ru-RU" altLang="en-US" sz="2000" b="1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1080135" indent="0" eaLnBrk="1" latinLnBrk="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altLang="en-US" sz="2000" b="1">
                <a:solidFill>
                  <a:schemeClr val="tx2">
                    <a:lumMod val="75000"/>
                    <a:lumOff val="25000"/>
                  </a:schemeClr>
                </a:solidFill>
              </a:rPr>
              <a:t>предложите способ...</a:t>
            </a:r>
            <a:endParaRPr lang="ru-RU" altLang="en-US" sz="2000" b="1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1080135" indent="0" eaLnBrk="1" latinLnBrk="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altLang="en-US" sz="2000" b="1">
                <a:solidFill>
                  <a:schemeClr val="tx2">
                    <a:lumMod val="75000"/>
                    <a:lumOff val="25000"/>
                  </a:schemeClr>
                </a:solidFill>
              </a:rPr>
              <a:t>приведите пример...</a:t>
            </a:r>
            <a:endParaRPr lang="ru-RU" altLang="en-US" sz="2000" b="1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1080135" indent="0" eaLnBrk="1" latinLnBrk="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altLang="en-US" sz="2000" b="1">
                <a:solidFill>
                  <a:schemeClr val="tx2">
                    <a:lumMod val="75000"/>
                    <a:lumOff val="25000"/>
                  </a:schemeClr>
                </a:solidFill>
              </a:rPr>
              <a:t>сформулируйте...</a:t>
            </a:r>
            <a:endParaRPr lang="ru-RU" altLang="en-US" sz="2000" b="1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342900" indent="-342900" eaLnBrk="1" latinLnBrk="0">
              <a:lnSpc>
                <a:spcPct val="110000"/>
              </a:lnSpc>
              <a:buFont typeface="Wingdings" panose="05000000000000000000" charset="0"/>
              <a:buChar char="Ø"/>
            </a:pPr>
            <a:r>
              <a:rPr lang="ru-RU" altLang="en-US" sz="2000" b="1">
                <a:solidFill>
                  <a:schemeClr val="tx2">
                    <a:lumMod val="75000"/>
                    <a:lumOff val="25000"/>
                  </a:schemeClr>
                </a:solidFill>
              </a:rPr>
              <a:t>Контекстные задачи</a:t>
            </a:r>
            <a:endParaRPr lang="ru-RU" altLang="en-US" sz="2000" b="1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342900" indent="-342900" eaLnBrk="1" latinLnBrk="0">
              <a:lnSpc>
                <a:spcPct val="110000"/>
              </a:lnSpc>
              <a:buFont typeface="Wingdings" panose="05000000000000000000" charset="0"/>
              <a:buChar char="Ø"/>
            </a:pPr>
            <a:r>
              <a:rPr lang="ru-RU" altLang="en-US" sz="2000" b="1">
                <a:solidFill>
                  <a:schemeClr val="tx2">
                    <a:lumMod val="75000"/>
                    <a:lumOff val="25000"/>
                  </a:schemeClr>
                </a:solidFill>
              </a:rPr>
              <a:t>Разделы учебника «Химия для жизни»</a:t>
            </a:r>
            <a:endParaRPr lang="ru-RU" altLang="en-US" sz="2200" b="1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eaLnBrk="1" latinLnBrk="0">
              <a:lnSpc>
                <a:spcPct val="110000"/>
              </a:lnSpc>
            </a:pPr>
            <a:endParaRPr lang="ru-RU" altLang="en-US" sz="1000" b="1">
              <a:gradFill>
                <a:gsLst>
                  <a:gs pos="0">
                    <a:srgbClr val="7B32B2"/>
                  </a:gs>
                  <a:gs pos="100000">
                    <a:srgbClr val="401A5D"/>
                  </a:gs>
                </a:gsLst>
                <a:lin scaled="0"/>
              </a:gradFill>
            </a:endParaRPr>
          </a:p>
          <a:p>
            <a:pPr eaLnBrk="1" latinLnBrk="0">
              <a:lnSpc>
                <a:spcPct val="110000"/>
              </a:lnSpc>
            </a:pPr>
            <a:r>
              <a:rPr lang="ru-RU" altLang="en-US" sz="2200" b="1">
                <a:solidFill>
                  <a:srgbClr val="C91B2C"/>
                </a:solidFill>
              </a:rPr>
              <a:t>Химический эксперимент в школе и дома</a:t>
            </a:r>
            <a:endParaRPr lang="ru-RU" altLang="en-US" sz="2200" b="1">
              <a:solidFill>
                <a:srgbClr val="C91B2C"/>
              </a:solidFill>
            </a:endParaRPr>
          </a:p>
          <a:p>
            <a:pPr eaLnBrk="1" latinLnBrk="0">
              <a:lnSpc>
                <a:spcPct val="110000"/>
              </a:lnSpc>
            </a:pPr>
            <a:r>
              <a:rPr lang="ru-RU" altLang="en-US" sz="2200" b="1">
                <a:solidFill>
                  <a:srgbClr val="C91B2C"/>
                </a:solidFill>
              </a:rPr>
              <a:t>Проектная и исследовательская деятельность</a:t>
            </a:r>
            <a:endParaRPr lang="ru-RU" altLang="en-US" sz="2200" b="1">
              <a:gradFill>
                <a:gsLst>
                  <a:gs pos="0">
                    <a:srgbClr val="7B32B2"/>
                  </a:gs>
                  <a:gs pos="100000">
                    <a:srgbClr val="401A5D"/>
                  </a:gs>
                </a:gsLst>
                <a:lin scaled="0"/>
              </a:gra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1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800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505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5060" name="Line 3"/>
          <p:cNvSpPr>
            <a:spLocks noChangeShapeType="1"/>
          </p:cNvSpPr>
          <p:nvPr/>
        </p:nvSpPr>
        <p:spPr bwMode="auto">
          <a:xfrm>
            <a:off x="0" y="819150"/>
            <a:ext cx="9144000" cy="1588"/>
          </a:xfrm>
          <a:prstGeom prst="line">
            <a:avLst/>
          </a:prstGeom>
          <a:noFill/>
          <a:ln w="12600">
            <a:solidFill>
              <a:srgbClr val="4F81BD"/>
            </a:solidFill>
            <a:round/>
          </a:ln>
          <a:effectLst>
            <a:outerShdw dist="23040" dir="5400000" algn="ctr" rotWithShape="0">
              <a:srgbClr val="000000">
                <a:alpha val="35036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pic>
        <p:nvPicPr>
          <p:cNvPr id="45061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5062" name="Picture 5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813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5063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8273" y="4041140"/>
            <a:ext cx="2219325" cy="264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5064" name="Rectangle 7"/>
          <p:cNvSpPr>
            <a:spLocks noChangeArrowheads="1"/>
          </p:cNvSpPr>
          <p:nvPr/>
        </p:nvSpPr>
        <p:spPr bwMode="auto">
          <a:xfrm>
            <a:off x="1122363" y="209550"/>
            <a:ext cx="8491537" cy="347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>
              <a:lnSpc>
                <a:spcPct val="95000"/>
              </a:lnSpc>
            </a:pPr>
            <a:r>
              <a:rPr lang="en-US" altLang="ru-RU" sz="2400">
                <a:solidFill>
                  <a:srgbClr val="012D86"/>
                </a:solidFill>
                <a:latin typeface="Impact" panose="020B0806030902050204" pitchFamily="32" charset="0"/>
                <a:ea typeface="WenQuanYi Micro Hei" charset="0"/>
                <a:cs typeface="Arial" panose="020B0604020202020204" pitchFamily="34" charset="0"/>
              </a:rPr>
              <a:t>Серия «Функциональная грамотность. Тренажёр»</a:t>
            </a:r>
            <a:endParaRPr lang="en-US" altLang="ru-RU" sz="2400">
              <a:solidFill>
                <a:srgbClr val="012D86"/>
              </a:solidFill>
              <a:latin typeface="Impact" panose="020B0806030902050204" pitchFamily="32" charset="0"/>
              <a:ea typeface="WenQuanYi Micro Hei" charset="0"/>
              <a:cs typeface="Arial" panose="020B0604020202020204" pitchFamily="34" charset="0"/>
            </a:endParaRPr>
          </a:p>
        </p:txBody>
      </p:sp>
      <p:grpSp>
        <p:nvGrpSpPr>
          <p:cNvPr id="45065" name="Group 8"/>
          <p:cNvGrpSpPr/>
          <p:nvPr/>
        </p:nvGrpSpPr>
        <p:grpSpPr bwMode="auto">
          <a:xfrm>
            <a:off x="115888" y="4437063"/>
            <a:ext cx="5781675" cy="2039937"/>
            <a:chOff x="73" y="2795"/>
            <a:chExt cx="3642" cy="1285"/>
          </a:xfrm>
        </p:grpSpPr>
        <p:pic>
          <p:nvPicPr>
            <p:cNvPr id="45067" name="Picture 9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534"/>
            <a:stretch>
              <a:fillRect/>
            </a:stretch>
          </p:blipFill>
          <p:spPr bwMode="auto">
            <a:xfrm>
              <a:off x="73" y="2795"/>
              <a:ext cx="961" cy="12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 l="52534"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45068" name="Picture 1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823" t="1122"/>
            <a:stretch>
              <a:fillRect/>
            </a:stretch>
          </p:blipFill>
          <p:spPr bwMode="auto">
            <a:xfrm>
              <a:off x="1396" y="2795"/>
              <a:ext cx="969" cy="12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 l="52823" t="1122"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45069" name="Picture 11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689"/>
            <a:stretch>
              <a:fillRect/>
            </a:stretch>
          </p:blipFill>
          <p:spPr bwMode="auto">
            <a:xfrm>
              <a:off x="2751" y="2795"/>
              <a:ext cx="964" cy="12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 l="52689"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sp>
        <p:nvSpPr>
          <p:cNvPr id="40972" name="Rectangle 12"/>
          <p:cNvSpPr>
            <a:spLocks noChangeArrowheads="1"/>
          </p:cNvSpPr>
          <p:nvPr/>
        </p:nvSpPr>
        <p:spPr bwMode="auto">
          <a:xfrm>
            <a:off x="114300" y="942975"/>
            <a:ext cx="7481888" cy="3376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4200" tIns="17280" rIns="34200" bIns="1728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eaLnBrk="1">
              <a:lnSpc>
                <a:spcPct val="100000"/>
              </a:lnSpc>
              <a:spcAft>
                <a:spcPts val="900"/>
              </a:spcAft>
            </a:pPr>
            <a:r>
              <a:rPr lang="en-US" altLang="ru-RU" sz="1400" b="1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собия серии «Функциональная грамотность. Тренажёр»:</a:t>
            </a:r>
            <a:endParaRPr lang="en-US" altLang="ru-RU" sz="1400" b="1">
              <a:solidFill>
                <a:srgbClr val="003399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eaLnBrk="1">
              <a:lnSpc>
                <a:spcPct val="1000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altLang="ru-RU" sz="140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ставляют собой </a:t>
            </a:r>
            <a:r>
              <a:rPr lang="en-US" altLang="ru-RU" sz="1400" b="1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борники современных контекстных задач</a:t>
            </a:r>
            <a:r>
              <a:rPr lang="en-US" altLang="ru-RU" sz="140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содержащих практико-ориентированные задания по направлениям функциональной грамотности.</a:t>
            </a:r>
            <a:endParaRPr lang="en-US" altLang="ru-RU" sz="1400">
              <a:solidFill>
                <a:srgbClr val="000000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eaLnBrk="1">
              <a:lnSpc>
                <a:spcPct val="1000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altLang="ru-RU" sz="140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лагают готовое решение по </a:t>
            </a:r>
            <a:r>
              <a:rPr lang="en-US" altLang="ru-RU" sz="1400" b="1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ормированию, развитию и оценке функциональной грамотности</a:t>
            </a:r>
            <a:r>
              <a:rPr lang="en-US" altLang="ru-RU" sz="140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изучаемой в международных исследованиях качества образования.</a:t>
            </a:r>
            <a:endParaRPr lang="en-US" altLang="ru-RU" sz="1400">
              <a:solidFill>
                <a:srgbClr val="000000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eaLnBrk="1">
              <a:lnSpc>
                <a:spcPct val="1000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altLang="ru-RU" sz="140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могают формировать умение осознанно использовать полученные в ходе обучения знания для решения жизненных задач. Развивают логическое мышление и самостоятельность учащихся. </a:t>
            </a:r>
            <a:endParaRPr lang="en-US" altLang="ru-RU" sz="1400">
              <a:solidFill>
                <a:srgbClr val="000000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eaLnBrk="1">
              <a:lnSpc>
                <a:spcPct val="1000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altLang="ru-RU" sz="140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еспечивают учителей-предметников </a:t>
            </a:r>
            <a:r>
              <a:rPr lang="en-US" altLang="ru-RU" sz="1400" b="1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нструментарием подготовки выпускников к участию в международных исследованиях в формате PISA.</a:t>
            </a:r>
            <a:endParaRPr lang="en-US" altLang="ru-RU" sz="1400" b="1">
              <a:solidFill>
                <a:srgbClr val="000000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eaLnBrk="1">
              <a:lnSpc>
                <a:spcPct val="1000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altLang="ru-RU" sz="140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комендуются к использованию учителями </a:t>
            </a:r>
            <a:r>
              <a:rPr lang="en-US" altLang="ru-RU" sz="1400" b="1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 уроках и во внеурочной деятельности</a:t>
            </a:r>
            <a:r>
              <a:rPr lang="en-US" altLang="ru-RU" sz="140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родителями и школьниками.</a:t>
            </a:r>
            <a:endParaRPr lang="en-US" altLang="ru-RU" sz="1400">
              <a:solidFill>
                <a:srgbClr val="000000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Прямая соединительная линия 25"/>
          <p:cNvCxnSpPr/>
          <p:nvPr/>
        </p:nvCxnSpPr>
        <p:spPr>
          <a:xfrm>
            <a:off x="0" y="610872"/>
            <a:ext cx="89774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520950" y="53340"/>
            <a:ext cx="591185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В помощь учителю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8900" y="675640"/>
            <a:ext cx="6939915" cy="1107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Arial" panose="020B0604020202020204" pitchFamily="34" charset="0"/>
              </a:rPr>
              <a:t>Какие компетенции проверяются?</a:t>
            </a:r>
            <a:endParaRPr lang="ru-RU" sz="18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ru-RU" sz="1800" dirty="0">
                <a:sym typeface="+mn-ea"/>
              </a:rPr>
              <a:t>Д</a:t>
            </a:r>
            <a:r>
              <a:rPr lang="ru-RU" sz="1800" dirty="0" smtClean="0">
                <a:ln>
                  <a:noFill/>
                </a:ln>
                <a:effectLst/>
                <a:sym typeface="+mn-ea"/>
              </a:rPr>
              <a:t>авать научные о</a:t>
            </a:r>
            <a:r>
              <a:rPr lang="ru-RU" sz="1800" dirty="0" smtClean="0">
                <a:sym typeface="+mn-ea"/>
              </a:rPr>
              <a:t>бъяснения явлений</a:t>
            </a:r>
            <a:endParaRPr kumimoji="0" lang="ru-RU" sz="1800" i="0" u="none" strike="noStrike" kern="1200" cap="none" spc="-40" normalizeH="0" baseline="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ru-RU" sz="1800" dirty="0">
                <a:sym typeface="+mn-ea"/>
              </a:rPr>
              <a:t>П</a:t>
            </a:r>
            <a:r>
              <a:rPr lang="ru-RU" sz="1800" dirty="0" smtClean="0">
                <a:sym typeface="+mn-ea"/>
              </a:rPr>
              <a:t>рименять е</a:t>
            </a:r>
            <a:r>
              <a:rPr lang="en-US" sz="1800" dirty="0" smtClean="0">
                <a:sym typeface="+mn-ea"/>
              </a:rPr>
              <a:t>/</a:t>
            </a:r>
            <a:r>
              <a:rPr lang="ru-RU" sz="1800" dirty="0" smtClean="0">
                <a:sym typeface="+mn-ea"/>
              </a:rPr>
              <a:t>н  методы </a:t>
            </a:r>
            <a:r>
              <a:rPr lang="ru-RU" sz="1800" dirty="0" smtClean="0">
                <a:ln>
                  <a:noFill/>
                </a:ln>
                <a:effectLst/>
                <a:sym typeface="+mn-ea"/>
              </a:rPr>
              <a:t>исследования</a:t>
            </a:r>
            <a:endParaRPr kumimoji="0" lang="ru-RU" sz="18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ru-RU" sz="1800" dirty="0" smtClean="0">
                <a:sym typeface="+mn-ea"/>
              </a:rPr>
              <a:t>Интерпретировать данные, делать выводы</a:t>
            </a:r>
            <a:endParaRPr kumimoji="0" lang="ru-RU" sz="1800" b="1" i="0" u="none" strike="noStrike" kern="1200" cap="none" spc="-4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7" y="1"/>
            <a:ext cx="1679734" cy="598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7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" name="TextBox 31"/>
          <p:cNvSpPr txBox="1"/>
          <p:nvPr/>
        </p:nvSpPr>
        <p:spPr>
          <a:xfrm>
            <a:off x="107950" y="1907540"/>
            <a:ext cx="6939915" cy="8305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Arial" panose="020B0604020202020204" pitchFamily="34" charset="0"/>
              </a:rPr>
              <a:t>Какие типы заданий предлагаются?</a:t>
            </a:r>
            <a:endParaRPr lang="ru-RU" sz="18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ru-RU" sz="1800" dirty="0">
                <a:sym typeface="+mn-ea"/>
              </a:rPr>
              <a:t>Знание содержания</a:t>
            </a:r>
            <a:endParaRPr lang="ru-RU" sz="1800" dirty="0">
              <a:sym typeface="+mn-ea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kumimoji="0" lang="ru-RU" sz="1800" i="0" u="none" strike="noStrike" kern="1200" cap="none" spc="-4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Знание процедур</a:t>
            </a:r>
            <a:endParaRPr kumimoji="0" lang="ru-RU" sz="1800" i="0" u="none" strike="noStrike" kern="1200" cap="none" spc="-4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31"/>
          <p:cNvSpPr txBox="1"/>
          <p:nvPr/>
        </p:nvSpPr>
        <p:spPr>
          <a:xfrm>
            <a:off x="88900" y="2908300"/>
            <a:ext cx="3495675" cy="16617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Arial" panose="020B0604020202020204" pitchFamily="34" charset="0"/>
              </a:rPr>
              <a:t>Какие контексты задаются?</a:t>
            </a:r>
            <a:endParaRPr lang="ru-RU" sz="18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en-US" sz="1800" dirty="0" smtClean="0">
                <a:sym typeface="+mn-ea"/>
              </a:rPr>
              <a:t>Здоровье</a:t>
            </a:r>
            <a:endParaRPr lang="en-US" sz="1800" baseline="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en-US" sz="1800" dirty="0" smtClean="0">
                <a:sym typeface="+mn-ea"/>
              </a:rPr>
              <a:t>Ресурсы</a:t>
            </a:r>
            <a:endParaRPr kumimoji="0" lang="en-US" sz="1800" i="0" u="none" strike="noStrike" cap="none" normalizeH="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en-US" sz="1800" dirty="0" smtClean="0">
                <a:sym typeface="+mn-ea"/>
              </a:rPr>
              <a:t>Окружающая среда</a:t>
            </a:r>
            <a:endParaRPr lang="en-US" sz="1800" baseline="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en-US" sz="1800" dirty="0" smtClean="0">
                <a:sym typeface="+mn-ea"/>
              </a:rPr>
              <a:t>Опасности и риски</a:t>
            </a:r>
            <a:endParaRPr kumimoji="0" lang="en-US" sz="1800" i="0" u="none" strike="noStrike" cap="none" normalizeH="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en-US" sz="1800" dirty="0" smtClean="0">
                <a:sym typeface="+mn-ea"/>
              </a:rPr>
              <a:t>Связь науки и технологии</a:t>
            </a:r>
            <a:endParaRPr kumimoji="0" lang="en-US" sz="1800" i="0" u="none" strike="noStrike" kern="1200" cap="none" normalizeH="0" baseline="0" dirty="0" smtClean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6" name="TextBox 31"/>
          <p:cNvSpPr txBox="1"/>
          <p:nvPr/>
        </p:nvSpPr>
        <p:spPr>
          <a:xfrm>
            <a:off x="5351780" y="3033395"/>
            <a:ext cx="3495675" cy="1107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Arial" panose="020B0604020202020204" pitchFamily="34" charset="0"/>
              </a:rPr>
              <a:t>Уровни значимости</a:t>
            </a:r>
            <a:endParaRPr lang="ru-RU" sz="18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ru-RU" sz="1800" dirty="0" smtClean="0">
                <a:sym typeface="+mn-ea"/>
              </a:rPr>
              <a:t>Личностный</a:t>
            </a:r>
            <a:endParaRPr lang="ru-RU" sz="1800" baseline="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ru-RU" sz="1800" dirty="0" smtClean="0">
                <a:sym typeface="+mn-ea"/>
              </a:rPr>
              <a:t>Национальный</a:t>
            </a:r>
            <a:endParaRPr kumimoji="0" lang="ru-RU" sz="180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ru-RU" sz="1800" dirty="0" smtClean="0">
                <a:sym typeface="+mn-ea"/>
              </a:rPr>
              <a:t>Глобальный</a:t>
            </a:r>
            <a:endParaRPr kumimoji="0" lang="en-US" sz="1800" i="0" u="none" strike="noStrike" kern="1200" cap="none" normalizeH="0" baseline="0" dirty="0" smtClean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Box 31"/>
          <p:cNvSpPr txBox="1"/>
          <p:nvPr/>
        </p:nvSpPr>
        <p:spPr>
          <a:xfrm>
            <a:off x="107950" y="4676140"/>
            <a:ext cx="4820920" cy="1107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Arial" panose="020B0604020202020204" pitchFamily="34" charset="0"/>
              </a:rPr>
              <a:t>Какие когнитивные уровни представлены?</a:t>
            </a:r>
            <a:endParaRPr lang="ru-RU" sz="18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ru-RU" altLang="en-US" sz="1800" dirty="0" smtClean="0">
                <a:sym typeface="+mn-ea"/>
              </a:rPr>
              <a:t>Низкий</a:t>
            </a:r>
            <a:endParaRPr lang="ru-RU" altLang="en-US" sz="1800" dirty="0" smtClean="0">
              <a:sym typeface="+mn-ea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kumimoji="0" lang="ru-RU" altLang="en-US" sz="1800" i="0" u="none" strike="noStrike" cap="none" normalizeH="0" dirty="0" smtClean="0">
                <a:solidFill>
                  <a:schemeClr val="tx1"/>
                </a:solidFill>
                <a:latin typeface="Arial" panose="020B0604020202020204" pitchFamily="34" charset="0"/>
              </a:rPr>
              <a:t>Средний</a:t>
            </a:r>
            <a:endParaRPr kumimoji="0" lang="en-US" sz="1800" i="0" u="none" strike="noStrike" cap="none" normalizeH="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ru-RU" altLang="en-US" sz="1800" dirty="0" smtClean="0">
                <a:sym typeface="+mn-ea"/>
              </a:rPr>
              <a:t>Высокий</a:t>
            </a:r>
            <a:endParaRPr kumimoji="0" lang="en-US" sz="1800" i="0" u="none" strike="noStrike" kern="1200" cap="none" normalizeH="0" baseline="0" dirty="0" smtClean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31"/>
          <p:cNvSpPr txBox="1"/>
          <p:nvPr/>
        </p:nvSpPr>
        <p:spPr>
          <a:xfrm>
            <a:off x="5351780" y="4676140"/>
            <a:ext cx="4820920" cy="1107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Arial" panose="020B0604020202020204" pitchFamily="34" charset="0"/>
              </a:rPr>
              <a:t>Какие типы вопросов?</a:t>
            </a:r>
            <a:endParaRPr lang="ru-RU" sz="18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lang="ru-RU" altLang="en-US" sz="1800" dirty="0" smtClean="0">
                <a:sym typeface="+mn-ea"/>
              </a:rPr>
              <a:t>Закрытый</a:t>
            </a:r>
            <a:endParaRPr lang="ru-RU" altLang="en-US" sz="1800" dirty="0" smtClean="0">
              <a:sym typeface="+mn-ea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kumimoji="0" lang="ru-RU" sz="1800" i="0" u="none" strike="noStrike" cap="none" normalizeH="0" dirty="0" smtClean="0">
                <a:solidFill>
                  <a:schemeClr val="tx1"/>
                </a:solidFill>
                <a:latin typeface="Arial" panose="020B0604020202020204" pitchFamily="34" charset="0"/>
              </a:rPr>
              <a:t>Частично открытый</a:t>
            </a:r>
            <a:endParaRPr kumimoji="0" lang="ru-RU" sz="1800" i="0" u="none" strike="noStrike" cap="none" normalizeH="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r>
              <a:rPr kumimoji="0" lang="ru-RU" altLang="en-US" sz="1800" i="0" u="none" strike="noStrike" kern="1200" cap="none" normalizeH="0" baseline="0" dirty="0" smtClean="0">
                <a:solidFill>
                  <a:schemeClr val="tx1"/>
                </a:solidFill>
                <a:latin typeface="Arial" panose="020B0604020202020204" pitchFamily="34" charset="0"/>
              </a:rPr>
              <a:t>Открытый</a:t>
            </a:r>
            <a:endParaRPr kumimoji="0" lang="ru-RU" altLang="en-US" sz="1800" i="0" u="none" strike="noStrike" kern="1200" cap="none" normalizeH="0" baseline="0" dirty="0" smtClean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9" name="TextBox 31"/>
          <p:cNvSpPr txBox="1"/>
          <p:nvPr/>
        </p:nvSpPr>
        <p:spPr>
          <a:xfrm>
            <a:off x="107950" y="5870575"/>
            <a:ext cx="8775065" cy="8305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Arial" panose="020B0604020202020204" pitchFamily="34" charset="0"/>
                <a:sym typeface="+mn-ea"/>
              </a:rPr>
              <a:t>Дидактические единицы</a:t>
            </a:r>
            <a:r>
              <a:rPr lang="ru-RU" altLang="en-US" sz="1800" dirty="0" smtClean="0">
                <a:sym typeface="+mn-ea"/>
              </a:rPr>
              <a:t> — научные разделы, в пределах которых рассматривается проблемная ситуация задания</a:t>
            </a:r>
            <a:endParaRPr lang="ru-RU" altLang="en-US" sz="1800" dirty="0" smtClean="0">
              <a:sym typeface="+mn-ea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ü"/>
            </a:pPr>
            <a:endParaRPr kumimoji="0" lang="en-US" sz="1800" i="0" u="none" strike="noStrike" kern="1200" cap="none" normalizeH="0" baseline="0" dirty="0" smtClean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0" name="Стрелка вправо 9"/>
          <p:cNvSpPr/>
          <p:nvPr/>
        </p:nvSpPr>
        <p:spPr>
          <a:xfrm>
            <a:off x="3204210" y="3573145"/>
            <a:ext cx="2003425" cy="360045"/>
          </a:xfrm>
          <a:prstGeom prst="rightArrow">
            <a:avLst/>
          </a:prstGeom>
          <a:solidFill>
            <a:srgbClr val="00B8FF"/>
          </a:solidFill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</a:pPr>
            <a:endParaRPr kumimoji="0" lang="en-GB" altLang="ru-RU" sz="1800" b="0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Прямая соединительная линия 25"/>
          <p:cNvCxnSpPr/>
          <p:nvPr/>
        </p:nvCxnSpPr>
        <p:spPr>
          <a:xfrm>
            <a:off x="0" y="610872"/>
            <a:ext cx="89774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520950" y="53340"/>
            <a:ext cx="591185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Решаем задания вместе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7" y="1"/>
            <a:ext cx="1679734" cy="598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7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" name="Замещающее содержимое 3"/>
          <p:cNvPicPr>
            <a:picLocks noChangeAspect="1"/>
          </p:cNvPicPr>
          <p:nvPr>
            <p:ph idx="1"/>
          </p:nvPr>
        </p:nvPicPr>
        <p:blipFill>
          <a:blip r:embed="rId4"/>
          <a:srcRect l="19734" t="21406" r="52696" b="15511"/>
          <a:stretch>
            <a:fillRect/>
          </a:stretch>
        </p:blipFill>
        <p:spPr>
          <a:xfrm>
            <a:off x="195580" y="1176020"/>
            <a:ext cx="4006215" cy="5156835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  <p:pic>
        <p:nvPicPr>
          <p:cNvPr id="11" name="Изображение 10"/>
          <p:cNvPicPr>
            <a:picLocks noChangeAspect="1"/>
          </p:cNvPicPr>
          <p:nvPr/>
        </p:nvPicPr>
        <p:blipFill>
          <a:blip r:embed="rId4"/>
          <a:srcRect l="50516" t="23065" r="22651" b="35028"/>
          <a:stretch>
            <a:fillRect/>
          </a:stretch>
        </p:blipFill>
        <p:spPr>
          <a:xfrm>
            <a:off x="4472305" y="1577975"/>
            <a:ext cx="4213225" cy="3701415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Прямая соединительная линия 25"/>
          <p:cNvCxnSpPr/>
          <p:nvPr/>
        </p:nvCxnSpPr>
        <p:spPr>
          <a:xfrm>
            <a:off x="0" y="610872"/>
            <a:ext cx="89774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520950" y="53340"/>
            <a:ext cx="591185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Решаем задания вместе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7" y="1"/>
            <a:ext cx="1679734" cy="598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7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4" name="Замещающее содержимое 13"/>
          <p:cNvPicPr>
            <a:picLocks noChangeAspect="1"/>
          </p:cNvPicPr>
          <p:nvPr>
            <p:ph idx="1"/>
          </p:nvPr>
        </p:nvPicPr>
        <p:blipFill>
          <a:blip r:embed="rId4"/>
          <a:srcRect l="9885" t="23946" r="17362" b="18403"/>
          <a:stretch>
            <a:fillRect/>
          </a:stretch>
        </p:blipFill>
        <p:spPr>
          <a:xfrm>
            <a:off x="95885" y="687705"/>
            <a:ext cx="5140960" cy="2291715"/>
          </a:xfrm>
          <a:prstGeom prst="rect">
            <a:avLst/>
          </a:prstGeom>
          <a:ln>
            <a:noFill/>
          </a:ln>
        </p:spPr>
      </p:pic>
      <p:pic>
        <p:nvPicPr>
          <p:cNvPr id="15" name="Изображение 14"/>
          <p:cNvPicPr>
            <a:picLocks noChangeAspect="1"/>
          </p:cNvPicPr>
          <p:nvPr/>
        </p:nvPicPr>
        <p:blipFill>
          <a:blip r:embed="rId5"/>
          <a:srcRect l="14682" t="43583" r="13443" b="27111"/>
          <a:stretch>
            <a:fillRect/>
          </a:stretch>
        </p:blipFill>
        <p:spPr>
          <a:xfrm>
            <a:off x="47625" y="2979420"/>
            <a:ext cx="5237480" cy="1201420"/>
          </a:xfrm>
          <a:prstGeom prst="rect">
            <a:avLst/>
          </a:prstGeom>
        </p:spPr>
      </p:pic>
      <p:sp>
        <p:nvSpPr>
          <p:cNvPr id="18" name="Текстовое поле 17"/>
          <p:cNvSpPr txBox="1"/>
          <p:nvPr/>
        </p:nvSpPr>
        <p:spPr>
          <a:xfrm>
            <a:off x="102870" y="740410"/>
            <a:ext cx="5260975" cy="3691255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p>
            <a:endParaRPr lang="ru-RU" altLang="en-US"/>
          </a:p>
          <a:p>
            <a:endParaRPr lang="ru-RU" altLang="en-US"/>
          </a:p>
          <a:p>
            <a:endParaRPr lang="ru-RU" altLang="en-US"/>
          </a:p>
          <a:p>
            <a:endParaRPr lang="ru-RU" altLang="en-US"/>
          </a:p>
          <a:p>
            <a:endParaRPr lang="ru-RU" altLang="en-US"/>
          </a:p>
          <a:p>
            <a:endParaRPr lang="ru-RU" altLang="en-US"/>
          </a:p>
          <a:p>
            <a:endParaRPr lang="ru-RU" altLang="en-US"/>
          </a:p>
          <a:p>
            <a:endParaRPr lang="ru-RU" altLang="en-US"/>
          </a:p>
          <a:p>
            <a:endParaRPr lang="ru-RU" altLang="en-US"/>
          </a:p>
          <a:p>
            <a:endParaRPr lang="ru-RU" altLang="en-US"/>
          </a:p>
          <a:p>
            <a:endParaRPr lang="ru-RU" altLang="en-US"/>
          </a:p>
          <a:p>
            <a:endParaRPr lang="ru-RU" altLang="en-US"/>
          </a:p>
          <a:p>
            <a:endParaRPr lang="ru-RU" altLang="en-US"/>
          </a:p>
          <a:p>
            <a:endParaRPr lang="ru-RU" altLang="en-US"/>
          </a:p>
        </p:txBody>
      </p:sp>
      <p:pic>
        <p:nvPicPr>
          <p:cNvPr id="19" name="Изображение 18"/>
          <p:cNvPicPr>
            <a:picLocks noChangeAspect="1"/>
          </p:cNvPicPr>
          <p:nvPr/>
        </p:nvPicPr>
        <p:blipFill>
          <a:blip r:embed="rId6"/>
          <a:srcRect l="35354" t="23630" r="14385" b="13120"/>
          <a:stretch>
            <a:fillRect/>
          </a:stretch>
        </p:blipFill>
        <p:spPr>
          <a:xfrm>
            <a:off x="2790825" y="2341880"/>
            <a:ext cx="6127750" cy="4337685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ru-RU" altLang="en-US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0" y="610872"/>
            <a:ext cx="89774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520950" y="53340"/>
            <a:ext cx="591185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Решаем задания вместе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7" y="1"/>
            <a:ext cx="1679734" cy="598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7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" name="Замещающее содержимое 2"/>
          <p:cNvPicPr>
            <a:picLocks noChangeAspect="1"/>
          </p:cNvPicPr>
          <p:nvPr>
            <p:ph idx="1"/>
          </p:nvPr>
        </p:nvPicPr>
        <p:blipFill>
          <a:blip r:embed="rId4"/>
          <a:srcRect l="12114" t="24377" r="27166" b="13387"/>
          <a:stretch>
            <a:fillRect/>
          </a:stretch>
        </p:blipFill>
        <p:spPr>
          <a:xfrm>
            <a:off x="12065" y="712470"/>
            <a:ext cx="6424930" cy="3704590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  <p:pic>
        <p:nvPicPr>
          <p:cNvPr id="5" name="Изображение 4"/>
          <p:cNvPicPr>
            <a:picLocks noChangeAspect="1"/>
          </p:cNvPicPr>
          <p:nvPr/>
        </p:nvPicPr>
        <p:blipFill>
          <a:blip r:embed="rId5"/>
          <a:srcRect l="30948" t="28454" r="29073" b="12694"/>
          <a:stretch>
            <a:fillRect/>
          </a:stretch>
        </p:blipFill>
        <p:spPr>
          <a:xfrm>
            <a:off x="3449320" y="2036445"/>
            <a:ext cx="5528310" cy="4577715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ru-RU" altLang="en-US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0" y="610872"/>
            <a:ext cx="89774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520950" y="53340"/>
            <a:ext cx="591185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Решаем задания вместе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7" y="1"/>
            <a:ext cx="1679734" cy="598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7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" name="Замещающее содержимое 4"/>
          <p:cNvPicPr>
            <a:picLocks noChangeAspect="1"/>
          </p:cNvPicPr>
          <p:nvPr>
            <p:ph idx="1"/>
          </p:nvPr>
        </p:nvPicPr>
        <p:blipFill>
          <a:blip r:embed="rId4"/>
          <a:srcRect l="12877" t="46949" r="27220" b="35256"/>
          <a:stretch>
            <a:fillRect/>
          </a:stretch>
        </p:blipFill>
        <p:spPr>
          <a:xfrm>
            <a:off x="130810" y="920115"/>
            <a:ext cx="8032115" cy="1342390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  <p:grpSp>
        <p:nvGrpSpPr>
          <p:cNvPr id="12" name="Группа 11"/>
          <p:cNvGrpSpPr/>
          <p:nvPr/>
        </p:nvGrpSpPr>
        <p:grpSpPr>
          <a:xfrm>
            <a:off x="3007995" y="1983105"/>
            <a:ext cx="5260340" cy="4667250"/>
            <a:chOff x="1204" y="2906"/>
            <a:chExt cx="8378" cy="7514"/>
          </a:xfrm>
        </p:grpSpPr>
        <p:grpSp>
          <p:nvGrpSpPr>
            <p:cNvPr id="10" name="Группа 9"/>
            <p:cNvGrpSpPr/>
            <p:nvPr/>
          </p:nvGrpSpPr>
          <p:grpSpPr>
            <a:xfrm>
              <a:off x="1205" y="3124"/>
              <a:ext cx="8306" cy="7297"/>
              <a:chOff x="178" y="4137"/>
              <a:chExt cx="8280" cy="7402"/>
            </a:xfrm>
          </p:grpSpPr>
          <p:pic>
            <p:nvPicPr>
              <p:cNvPr id="8" name="Изображение 7"/>
              <p:cNvPicPr>
                <a:picLocks noChangeAspect="1"/>
              </p:cNvPicPr>
              <p:nvPr/>
            </p:nvPicPr>
            <p:blipFill>
              <a:blip r:embed="rId5"/>
              <a:srcRect l="36339" t="29935" r="14385" b="16889"/>
              <a:stretch>
                <a:fillRect/>
              </a:stretch>
            </p:blipFill>
            <p:spPr>
              <a:xfrm>
                <a:off x="178" y="6593"/>
                <a:ext cx="8280" cy="494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6" name="Изображение 5"/>
              <p:cNvPicPr>
                <a:picLocks noChangeAspect="1"/>
              </p:cNvPicPr>
              <p:nvPr/>
            </p:nvPicPr>
            <p:blipFill>
              <a:blip r:embed="rId6"/>
              <a:srcRect l="28307" t="54852" r="22339" b="17176"/>
              <a:stretch>
                <a:fillRect/>
              </a:stretch>
            </p:blipFill>
            <p:spPr>
              <a:xfrm>
                <a:off x="178" y="4137"/>
                <a:ext cx="8279" cy="2639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11" name="Прямоугольник 10"/>
            <p:cNvSpPr/>
            <p:nvPr/>
          </p:nvSpPr>
          <p:spPr>
            <a:xfrm>
              <a:off x="1204" y="2906"/>
              <a:ext cx="8378" cy="7484"/>
            </a:xfrm>
            <a:prstGeom prst="rect">
              <a:avLst/>
            </a:prstGeom>
            <a:noFill/>
            <a:ln w="6350" cap="flat" cmpd="sng" algn="ctr">
              <a:solidFill>
                <a:schemeClr val="accent6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l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6" charset="0"/>
                <a:buNone/>
              </a:pPr>
              <a:endParaRPr kumimoji="0" lang="en-GB" altLang="ru-RU" sz="18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147" name="Line 2"/>
          <p:cNvSpPr>
            <a:spLocks noChangeShapeType="1"/>
          </p:cNvSpPr>
          <p:nvPr/>
        </p:nvSpPr>
        <p:spPr bwMode="auto">
          <a:xfrm>
            <a:off x="0" y="819150"/>
            <a:ext cx="9144000" cy="1588"/>
          </a:xfrm>
          <a:prstGeom prst="line">
            <a:avLst/>
          </a:prstGeom>
          <a:noFill/>
          <a:ln w="12600">
            <a:solidFill>
              <a:srgbClr val="4F81BD"/>
            </a:solidFill>
            <a:round/>
          </a:ln>
          <a:effectLst>
            <a:outerShdw dist="23040" dir="5400000" algn="ctr" rotWithShape="0">
              <a:srgbClr val="000000">
                <a:alpha val="35036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pic>
        <p:nvPicPr>
          <p:cNvPr id="6149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152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800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9" name="CustomShape 21"/>
          <p:cNvSpPr/>
          <p:nvPr/>
        </p:nvSpPr>
        <p:spPr>
          <a:xfrm>
            <a:off x="3564000" y="1194480"/>
            <a:ext cx="5472360" cy="3891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«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Функциональная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грамотность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—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способность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человека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использовать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приобретаемые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в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течение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жизни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знания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для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решения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широкого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диапазона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жизненных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задач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в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различных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сферах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человеческой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деятельности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,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общения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и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социальных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2400" b="0" strike="noStrike" spc="-1" dirty="0" err="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отношений</a:t>
            </a:r>
            <a:r>
              <a:rPr lang="en-US" sz="2400" b="0" strike="noStrike" spc="-1" dirty="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» </a:t>
            </a:r>
            <a:endParaRPr lang="en-US" sz="2400" b="0" strike="noStrike" spc="-1" dirty="0">
              <a:latin typeface="Arial" panose="020B0604020202020204"/>
            </a:endParaRPr>
          </a:p>
        </p:txBody>
      </p:sp>
      <p:pic>
        <p:nvPicPr>
          <p:cNvPr id="10" name="Picture 2"/>
          <p:cNvPicPr/>
          <p:nvPr/>
        </p:nvPicPr>
        <p:blipFill>
          <a:blip r:embed="rId4"/>
          <a:stretch>
            <a:fillRect/>
          </a:stretch>
        </p:blipFill>
        <p:spPr>
          <a:xfrm>
            <a:off x="148320" y="1124640"/>
            <a:ext cx="3227040" cy="455256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CustomShape 22"/>
          <p:cNvSpPr/>
          <p:nvPr/>
        </p:nvSpPr>
        <p:spPr>
          <a:xfrm>
            <a:off x="4971600" y="5256000"/>
            <a:ext cx="3816000" cy="1218600"/>
          </a:xfrm>
          <a:prstGeom prst="rect">
            <a:avLst/>
          </a:prstGeom>
          <a:noFill/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45720" rIns="4572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1" i="1" strike="noStrike" spc="-1">
                <a:solidFill>
                  <a:srgbClr val="345DAE"/>
                </a:solidFill>
                <a:latin typeface="Arial" panose="020B0604020202020204"/>
                <a:ea typeface="Arial" panose="020B0604020202020204"/>
              </a:rPr>
              <a:t>Алексей Алексеевич Леонтьев, </a:t>
            </a:r>
            <a:r>
              <a:rPr lang="en-US" sz="1400" b="0" i="1" strike="noStrike" spc="-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советский и российский лингвист, </a:t>
            </a:r>
            <a:endParaRPr lang="en-US" sz="1400" b="0" strike="noStrike" spc="-1">
              <a:latin typeface="Arial" panose="020B0604020202020204"/>
            </a:endParaRPr>
          </a:p>
          <a:p>
            <a:pPr>
              <a:lnSpc>
                <a:spcPct val="100000"/>
              </a:lnSpc>
            </a:pPr>
            <a:r>
              <a:rPr lang="en-US" sz="1400" b="0" i="1" strike="noStrike" spc="-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психолог, доктор психологических наук и доктор филологических наук, действительный член РАО</a:t>
            </a:r>
            <a:r>
              <a:rPr lang="en-US" sz="1400" b="0" i="1" strike="noStrike" spc="-1" baseline="30000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 </a:t>
            </a:r>
            <a:r>
              <a:rPr lang="en-US" sz="1400" b="0" i="1" strike="noStrike" spc="-1">
                <a:solidFill>
                  <a:srgbClr val="000000"/>
                </a:solidFill>
                <a:latin typeface="Arial" panose="020B0604020202020204"/>
                <a:ea typeface="Arial" panose="020B0604020202020204"/>
              </a:rPr>
              <a:t>и АПСН </a:t>
            </a:r>
            <a:endParaRPr lang="en-US" sz="1400" b="0" strike="noStrike" spc="-1">
              <a:latin typeface="Arial" panose="020B060402020202020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193420" y="131474"/>
            <a:ext cx="6425565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800" b="1" spc="-4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ФУНКЦИОНАЛЬНАЯ ГРАМОТНОСТЬ</a:t>
            </a:r>
            <a:endParaRPr lang="ru-RU" sz="2800" b="1" spc="-4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19" name="Слайд think-cell" r:id="rId2" imgW="9525" imgH="9525" progId="TCLayout.ActiveDocument.1">
                  <p:embed/>
                </p:oleObj>
              </mc:Choice>
              <mc:Fallback>
                <p:oleObj name="Слайд think-cell" r:id="rId2" imgW="9525" imgH="9525" progId="TCLayout.ActiveDocument.1">
                  <p:embed/>
                  <p:pic>
                    <p:nvPicPr>
                      <p:cNvPr id="0" name="Изображение 111618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138994" y="162605"/>
            <a:ext cx="7300616" cy="7602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6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.</a:t>
            </a:r>
            <a:endParaRPr kumimoji="0" lang="ru-RU" sz="2600" b="1" i="0" u="none" strike="noStrike" kern="1200" cap="none" spc="-40" normalizeH="0" baseline="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6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Учимся </a:t>
            </a:r>
            <a:r>
              <a:rPr kumimoji="0" lang="ru-RU" sz="26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для жизни» </a:t>
            </a:r>
            <a:endParaRPr kumimoji="0" lang="ru-RU" sz="26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075795" y="5237769"/>
            <a:ext cx="21833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78123" y="1207044"/>
            <a:ext cx="7808486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борники эталонных издани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299260" y="1844824"/>
            <a:ext cx="4873077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едназначены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для 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формирования 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 оценки всех аспектов функциональной грамотности, которые изучаются в международном сравнительном исследовании PISA.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одержат 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бучающие и тренировочные задания, охватывающие все содержательные и </a:t>
            </a:r>
            <a:r>
              <a:rPr kumimoji="0" lang="ru-RU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омпетентностые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аспекты оценки функциональной грамотности по каждой из областей. Приводятся разве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ситуаций. 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огут быть использованы 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 обучающих целях педагогами на уроках и во внеурочной деятельности, а также администрацией школы для организации </a:t>
            </a:r>
            <a:r>
              <a:rPr kumimoji="0" lang="ru-RU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нутришкольного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мониторинга по оценке функциональной грамотности учащихся 5 и 7 классов.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111421" y="1059404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/>
        </p:nvSpPr>
        <p:spPr>
          <a:xfrm>
            <a:off x="547971" y="5437824"/>
            <a:ext cx="1974590" cy="864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Готовятся к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печати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в феврале 2020 года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Номер слайда 8"/>
          <p:cNvSpPr>
            <a:spLocks noGrp="1"/>
          </p:cNvSpPr>
          <p:nvPr>
            <p:ph type="sldNum" sz="quarter" idx="4294967295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2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9840" y="133368"/>
            <a:ext cx="1604902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123" y="4430001"/>
            <a:ext cx="1380199" cy="19124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965" y="2198864"/>
            <a:ext cx="1482442" cy="20540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2277" y="2141577"/>
            <a:ext cx="1551651" cy="21499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661" y="4473622"/>
            <a:ext cx="1366291" cy="18931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1907" y="4495326"/>
            <a:ext cx="1341596" cy="18589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1508" y="4486653"/>
            <a:ext cx="1367859" cy="18953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994" y="2196446"/>
            <a:ext cx="1447622" cy="20058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651" y="2185340"/>
            <a:ext cx="1480010" cy="20506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1" name="Picture 7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236478" y="6651116"/>
            <a:ext cx="167903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"Просвещение"»,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</a:t>
            </a: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0" y="610872"/>
            <a:ext cx="89774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36220" y="712470"/>
            <a:ext cx="7466330" cy="3689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4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Задания для разминки</a:t>
            </a:r>
            <a:endParaRPr kumimoji="0" lang="ru-RU" sz="2400" b="1" i="0" u="none" strike="noStrike" kern="1200" cap="none" spc="-40" normalizeH="0" baseline="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2235" y="1412875"/>
            <a:ext cx="5367655" cy="41287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236573" y="5820119"/>
            <a:ext cx="8581911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n-ea"/>
                <a:cs typeface="Times New Roman" panose="02020603050405020304" pitchFamily="16" charset="0"/>
              </a:rPr>
              <a:t>Задание № 1 относится к группе заданий на объяснение явлений и фактов</a:t>
            </a:r>
            <a:endParaRPr kumimoji="0" lang="ru-RU" sz="24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n-ea"/>
              <a:cs typeface="Times New Roman" panose="02020603050405020304" pitchFamily="16" charset="0"/>
            </a:endParaRPr>
          </a:p>
        </p:txBody>
      </p:sp>
      <p:sp>
        <p:nvSpPr>
          <p:cNvPr id="2" name="TextBox 20"/>
          <p:cNvSpPr txBox="1"/>
          <p:nvPr/>
        </p:nvSpPr>
        <p:spPr>
          <a:xfrm>
            <a:off x="2520950" y="53340"/>
            <a:ext cx="591185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Решаем задания вместе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5" y="53340"/>
            <a:ext cx="1508125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Прямая соединительная линия 25"/>
          <p:cNvCxnSpPr/>
          <p:nvPr/>
        </p:nvCxnSpPr>
        <p:spPr>
          <a:xfrm>
            <a:off x="0" y="610872"/>
            <a:ext cx="89774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36220" y="712470"/>
            <a:ext cx="7466330" cy="3689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4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Задания для разминки</a:t>
            </a:r>
            <a:endParaRPr kumimoji="0" lang="ru-RU" sz="2400" b="1" i="0" u="none" strike="noStrike" kern="1200" cap="none" spc="-40" normalizeH="0" baseline="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20"/>
          <p:cNvSpPr txBox="1"/>
          <p:nvPr/>
        </p:nvSpPr>
        <p:spPr>
          <a:xfrm>
            <a:off x="2520950" y="53340"/>
            <a:ext cx="591185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Решаем задания вместе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>
            <p:ph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5" y="53340"/>
            <a:ext cx="1508125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9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307" y="1202159"/>
            <a:ext cx="6135722" cy="4257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4"/>
          <p:cNvSpPr txBox="1"/>
          <p:nvPr/>
        </p:nvSpPr>
        <p:spPr>
          <a:xfrm>
            <a:off x="426020" y="5943230"/>
            <a:ext cx="8261027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000" b="1" i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n-ea"/>
                <a:cs typeface="Times New Roman" panose="02020603050405020304" pitchFamily="16" charset="0"/>
              </a:rPr>
              <a:t>Задание № 3 относится к группе заданий на исследование</a:t>
            </a:r>
            <a:endParaRPr lang="ru-RU" sz="2000" b="1" i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n-ea"/>
              <a:cs typeface="Times New Roman" panose="02020603050405020304" pitchFamily="16" charset="0"/>
            </a:endParaRPr>
          </a:p>
        </p:txBody>
      </p:sp>
      <p:pic>
        <p:nvPicPr>
          <p:cNvPr id="2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Прямая соединительная линия 25"/>
          <p:cNvCxnSpPr/>
          <p:nvPr/>
        </p:nvCxnSpPr>
        <p:spPr>
          <a:xfrm>
            <a:off x="0" y="610872"/>
            <a:ext cx="89774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36220" y="712470"/>
            <a:ext cx="7466330" cy="3689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4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Задания для разминки</a:t>
            </a:r>
            <a:endParaRPr kumimoji="0" lang="ru-RU" sz="2400" b="1" i="0" u="none" strike="noStrike" kern="1200" cap="none" spc="-40" normalizeH="0" baseline="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20"/>
          <p:cNvSpPr txBox="1"/>
          <p:nvPr/>
        </p:nvSpPr>
        <p:spPr>
          <a:xfrm>
            <a:off x="2520950" y="53340"/>
            <a:ext cx="591185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Решаем задания вместе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>
            <p:ph sz="half"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85" y="3058795"/>
            <a:ext cx="2981325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860032" y="5689314"/>
            <a:ext cx="42421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000" b="1" i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n-ea"/>
                <a:cs typeface="Times New Roman" panose="02020603050405020304" pitchFamily="16" charset="0"/>
              </a:rPr>
              <a:t>Задание № 5 и задание № 6 относятся к группе заданий на анализ данных</a:t>
            </a:r>
            <a:endParaRPr lang="ru-RU" sz="2000" b="1" i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n-ea"/>
              <a:cs typeface="Times New Roman" panose="02020603050405020304" pitchFamily="16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125818" y="1205062"/>
            <a:ext cx="4734214" cy="4978742"/>
            <a:chOff x="125818" y="1205062"/>
            <a:chExt cx="4734214" cy="4978742"/>
          </a:xfrm>
        </p:grpSpPr>
        <p:pic>
          <p:nvPicPr>
            <p:cNvPr id="4" name="Рисунок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6478" y="1205062"/>
              <a:ext cx="4623554" cy="39825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5818" y="5096262"/>
              <a:ext cx="4734214" cy="108754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4" name="Рисунок 23"/>
          <p:cNvPicPr>
            <a:picLocks noChangeAspect="1"/>
          </p:cNvPicPr>
          <p:nvPr>
            <p:ph sz="half" idx="2"/>
          </p:nvPr>
        </p:nvPicPr>
        <p:blipFill>
          <a:blip r:embed="rId6"/>
          <a:stretch>
            <a:fillRect/>
          </a:stretch>
        </p:blipFill>
        <p:spPr>
          <a:xfrm>
            <a:off x="4646930" y="1731645"/>
            <a:ext cx="4038600" cy="37211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627784" y="142229"/>
            <a:ext cx="73151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ЛОБАЛЬНЫЕ КОМПЕТЕНЦИ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483" y="1219329"/>
            <a:ext cx="2567344" cy="38988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xtBox 2"/>
          <p:cNvSpPr txBox="1"/>
          <p:nvPr/>
        </p:nvSpPr>
        <p:spPr>
          <a:xfrm>
            <a:off x="2881993" y="1016902"/>
            <a:ext cx="567347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Что такое «глобальные компетенции»?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996293" y="1600201"/>
            <a:ext cx="595473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Способность эффективно действовать индивидуально или в группе в различных ситуациях.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Они включают в себя: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заинтересованность и осведомлённость о глобальных тенденциях развития;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управление поведением;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открытость новому;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эмоциональное восприятие нового.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996293" y="4500251"/>
            <a:ext cx="60530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Какие знания лежат в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основе глобальных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компетенций?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45430" y="5229200"/>
            <a:ext cx="625645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умение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распознавать глобальное и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локальное;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умение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мыслить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глобально, а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действовать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локально;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умение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мыслить аналитически и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критически;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знания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, умения и отношения между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людьми.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6" y="0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Прямая соединительная линия 25"/>
          <p:cNvCxnSpPr/>
          <p:nvPr/>
        </p:nvCxnSpPr>
        <p:spPr>
          <a:xfrm>
            <a:off x="0" y="610872"/>
            <a:ext cx="89774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20"/>
          <p:cNvSpPr txBox="1"/>
          <p:nvPr/>
        </p:nvSpPr>
        <p:spPr>
          <a:xfrm>
            <a:off x="2520950" y="53340"/>
            <a:ext cx="591185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Решаем задания вместе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>
            <p:ph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5" y="53340"/>
            <a:ext cx="1508125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3"/>
          <a:srcRect l="19488" t="41270" r="53437" b="20163"/>
          <a:stretch>
            <a:fillRect/>
          </a:stretch>
        </p:blipFill>
        <p:spPr>
          <a:xfrm>
            <a:off x="1174750" y="979170"/>
            <a:ext cx="6628130" cy="5311140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ru-RU" altLang="en-US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0" y="610872"/>
            <a:ext cx="89774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20"/>
          <p:cNvSpPr txBox="1"/>
          <p:nvPr/>
        </p:nvSpPr>
        <p:spPr>
          <a:xfrm>
            <a:off x="2520950" y="53340"/>
            <a:ext cx="591185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Решаем задания вместе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>
            <p:ph sz="half"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85" y="3058795"/>
            <a:ext cx="2981325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grpSp>
        <p:nvGrpSpPr>
          <p:cNvPr id="8" name="Группа 7"/>
          <p:cNvGrpSpPr/>
          <p:nvPr/>
        </p:nvGrpSpPr>
        <p:grpSpPr>
          <a:xfrm>
            <a:off x="179070" y="836930"/>
            <a:ext cx="6049010" cy="3900805"/>
            <a:chOff x="282" y="1318"/>
            <a:chExt cx="9526" cy="6143"/>
          </a:xfrm>
        </p:grpSpPr>
        <p:grpSp>
          <p:nvGrpSpPr>
            <p:cNvPr id="6" name="Группа 5"/>
            <p:cNvGrpSpPr/>
            <p:nvPr/>
          </p:nvGrpSpPr>
          <p:grpSpPr>
            <a:xfrm>
              <a:off x="291" y="1373"/>
              <a:ext cx="9394" cy="6088"/>
              <a:chOff x="74" y="1280"/>
              <a:chExt cx="9394" cy="5950"/>
            </a:xfrm>
          </p:grpSpPr>
          <p:pic>
            <p:nvPicPr>
              <p:cNvPr id="3" name="Изображение 2"/>
              <p:cNvPicPr>
                <a:picLocks noChangeAspect="1"/>
              </p:cNvPicPr>
              <p:nvPr/>
            </p:nvPicPr>
            <p:blipFill>
              <a:blip r:embed="rId3"/>
              <a:srcRect l="22335" t="79315" r="53576" b="14457"/>
              <a:stretch>
                <a:fillRect/>
              </a:stretch>
            </p:blipFill>
            <p:spPr>
              <a:xfrm>
                <a:off x="161" y="1280"/>
                <a:ext cx="9221" cy="1341"/>
              </a:xfrm>
              <a:prstGeom prst="rect">
                <a:avLst/>
              </a:prstGeom>
            </p:spPr>
          </p:pic>
          <p:pic>
            <p:nvPicPr>
              <p:cNvPr id="4" name="Изображение 3"/>
              <p:cNvPicPr>
                <a:picLocks noChangeAspect="1"/>
              </p:cNvPicPr>
              <p:nvPr/>
            </p:nvPicPr>
            <p:blipFill>
              <a:blip r:embed="rId3"/>
              <a:srcRect l="50505" t="24352" r="24750" b="53315"/>
              <a:stretch>
                <a:fillRect/>
              </a:stretch>
            </p:blipFill>
            <p:spPr>
              <a:xfrm>
                <a:off x="74" y="2460"/>
                <a:ext cx="9395" cy="4770"/>
              </a:xfrm>
              <a:prstGeom prst="rect">
                <a:avLst/>
              </a:prstGeom>
            </p:spPr>
          </p:pic>
        </p:grpSp>
        <p:sp>
          <p:nvSpPr>
            <p:cNvPr id="7" name="Прямоугольник 6"/>
            <p:cNvSpPr/>
            <p:nvPr/>
          </p:nvSpPr>
          <p:spPr>
            <a:xfrm>
              <a:off x="282" y="1318"/>
              <a:ext cx="9526" cy="6010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l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6" charset="0"/>
                <a:buNone/>
              </a:pPr>
              <a:endParaRPr kumimoji="0" lang="en-GB" altLang="ru-RU" sz="18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</p:grpSp>
      <p:pic>
        <p:nvPicPr>
          <p:cNvPr id="9" name="Замещающее содержимое 8"/>
          <p:cNvPicPr>
            <a:picLocks noChangeAspect="1"/>
          </p:cNvPicPr>
          <p:nvPr>
            <p:ph sz="half" idx="2"/>
          </p:nvPr>
        </p:nvPicPr>
        <p:blipFill>
          <a:blip r:embed="rId4"/>
          <a:srcRect l="50865" t="56900" r="25189" b="24123"/>
          <a:stretch>
            <a:fillRect/>
          </a:stretch>
        </p:blipFill>
        <p:spPr>
          <a:xfrm>
            <a:off x="2520950" y="3801110"/>
            <a:ext cx="6433185" cy="2867660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ru-RU" altLang="en-US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0" y="610872"/>
            <a:ext cx="89774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20"/>
          <p:cNvSpPr txBox="1"/>
          <p:nvPr/>
        </p:nvSpPr>
        <p:spPr>
          <a:xfrm>
            <a:off x="2520950" y="53340"/>
            <a:ext cx="591185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Решаем задания вместе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>
            <p:ph sz="half"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85" y="3058795"/>
            <a:ext cx="2981325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3"/>
          <a:srcRect l="50267" t="47148" r="25083" b="25930"/>
          <a:stretch>
            <a:fillRect/>
          </a:stretch>
        </p:blipFill>
        <p:spPr>
          <a:xfrm>
            <a:off x="102235" y="745490"/>
            <a:ext cx="6746875" cy="4145280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4"/>
          <a:srcRect l="21818" t="24500" r="52953" b="69954"/>
          <a:stretch>
            <a:fillRect/>
          </a:stretch>
        </p:blipFill>
        <p:spPr>
          <a:xfrm>
            <a:off x="2032635" y="5295900"/>
            <a:ext cx="6565265" cy="1013460"/>
          </a:xfrm>
          <a:prstGeom prst="rect">
            <a:avLst/>
          </a:prstGeom>
        </p:spPr>
      </p:pic>
      <p:pic>
        <p:nvPicPr>
          <p:cNvPr id="4" name="Замещающее содержимое 3"/>
          <p:cNvPicPr>
            <a:picLocks noChangeAspect="1"/>
          </p:cNvPicPr>
          <p:nvPr>
            <p:ph sz="half" idx="2"/>
          </p:nvPr>
        </p:nvPicPr>
        <p:blipFill>
          <a:blip r:embed="rId5"/>
          <a:srcRect l="50979" t="76186" r="25189" b="15120"/>
          <a:stretch>
            <a:fillRect/>
          </a:stretch>
        </p:blipFill>
        <p:spPr>
          <a:xfrm>
            <a:off x="2197735" y="3942715"/>
            <a:ext cx="6235065" cy="14954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ru-RU" altLang="en-US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0" y="610872"/>
            <a:ext cx="89774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20"/>
          <p:cNvSpPr txBox="1"/>
          <p:nvPr/>
        </p:nvSpPr>
        <p:spPr>
          <a:xfrm>
            <a:off x="2520950" y="53340"/>
            <a:ext cx="591185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Решаем задания вместе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>
            <p:ph sz="half"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85" y="3058795"/>
            <a:ext cx="2981325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grpSp>
        <p:nvGrpSpPr>
          <p:cNvPr id="8" name="Группа 7"/>
          <p:cNvGrpSpPr/>
          <p:nvPr/>
        </p:nvGrpSpPr>
        <p:grpSpPr>
          <a:xfrm>
            <a:off x="179070" y="836930"/>
            <a:ext cx="6355715" cy="5012055"/>
            <a:chOff x="282" y="1318"/>
            <a:chExt cx="8504" cy="7072"/>
          </a:xfrm>
        </p:grpSpPr>
        <p:grpSp>
          <p:nvGrpSpPr>
            <p:cNvPr id="6" name="Группа 5"/>
            <p:cNvGrpSpPr/>
            <p:nvPr/>
          </p:nvGrpSpPr>
          <p:grpSpPr>
            <a:xfrm>
              <a:off x="442" y="1438"/>
              <a:ext cx="8303" cy="6952"/>
              <a:chOff x="442" y="1438"/>
              <a:chExt cx="6394" cy="4983"/>
            </a:xfrm>
          </p:grpSpPr>
          <p:pic>
            <p:nvPicPr>
              <p:cNvPr id="4" name="Изображение 3"/>
              <p:cNvPicPr>
                <a:picLocks noChangeAspect="1"/>
              </p:cNvPicPr>
              <p:nvPr/>
            </p:nvPicPr>
            <p:blipFill>
              <a:blip r:embed="rId3"/>
              <a:srcRect l="22073" t="24056" r="53266" b="51657"/>
              <a:stretch>
                <a:fillRect/>
              </a:stretch>
            </p:blipFill>
            <p:spPr>
              <a:xfrm>
                <a:off x="442" y="2879"/>
                <a:ext cx="6394" cy="3542"/>
              </a:xfrm>
              <a:prstGeom prst="rect">
                <a:avLst/>
              </a:prstGeom>
            </p:spPr>
          </p:pic>
          <p:pic>
            <p:nvPicPr>
              <p:cNvPr id="3" name="Изображение 2"/>
              <p:cNvPicPr>
                <a:picLocks noChangeAspect="1"/>
              </p:cNvPicPr>
              <p:nvPr/>
            </p:nvPicPr>
            <p:blipFill>
              <a:blip r:embed="rId4"/>
              <a:srcRect l="50642" t="74646" r="25083" b="14601"/>
              <a:stretch>
                <a:fillRect/>
              </a:stretch>
            </p:blipFill>
            <p:spPr>
              <a:xfrm>
                <a:off x="551" y="1438"/>
                <a:ext cx="6285" cy="1566"/>
              </a:xfrm>
              <a:prstGeom prst="rect">
                <a:avLst/>
              </a:prstGeom>
            </p:spPr>
          </p:pic>
        </p:grpSp>
        <p:sp>
          <p:nvSpPr>
            <p:cNvPr id="7" name="Прямоугольник 6"/>
            <p:cNvSpPr/>
            <p:nvPr/>
          </p:nvSpPr>
          <p:spPr>
            <a:xfrm>
              <a:off x="282" y="1318"/>
              <a:ext cx="8505" cy="7031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l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6" charset="0"/>
                <a:buNone/>
              </a:pPr>
              <a:endParaRPr kumimoji="0" lang="en-GB" altLang="ru-RU" sz="18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</p:grpSp>
      <p:pic>
        <p:nvPicPr>
          <p:cNvPr id="9" name="Замещающее содержимое 8"/>
          <p:cNvPicPr>
            <a:picLocks noChangeAspect="1"/>
          </p:cNvPicPr>
          <p:nvPr>
            <p:ph sz="half" idx="2"/>
          </p:nvPr>
        </p:nvPicPr>
        <p:blipFill>
          <a:blip r:embed="rId5"/>
          <a:srcRect l="22484" t="30940" r="53363" b="40104"/>
          <a:stretch>
            <a:fillRect/>
          </a:stretch>
        </p:blipFill>
        <p:spPr>
          <a:xfrm>
            <a:off x="2930525" y="2534920"/>
            <a:ext cx="5960110" cy="4018915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Прямая соединительная линия 25"/>
          <p:cNvCxnSpPr/>
          <p:nvPr/>
        </p:nvCxnSpPr>
        <p:spPr>
          <a:xfrm>
            <a:off x="0" y="610872"/>
            <a:ext cx="8977448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20"/>
          <p:cNvSpPr txBox="1"/>
          <p:nvPr/>
        </p:nvSpPr>
        <p:spPr>
          <a:xfrm>
            <a:off x="2520950" y="53340"/>
            <a:ext cx="591185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Решаем задания вместе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8"/>
          <p:cNvPicPr>
            <a:picLocks noChangeAspect="1" noChangeArrowheads="1"/>
          </p:cNvPicPr>
          <p:nvPr>
            <p:ph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5" y="53340"/>
            <a:ext cx="1508125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3"/>
          <a:srcRect l="21990" t="50157" r="53099" b="14148"/>
          <a:stretch>
            <a:fillRect/>
          </a:stretch>
        </p:blipFill>
        <p:spPr>
          <a:xfrm>
            <a:off x="181610" y="857885"/>
            <a:ext cx="5750560" cy="4634865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  <p:pic>
        <p:nvPicPr>
          <p:cNvPr id="9" name="Замещающее содержимое 8"/>
          <p:cNvPicPr>
            <a:picLocks noChangeAspect="1"/>
          </p:cNvPicPr>
          <p:nvPr>
            <p:ph sz="half" idx="2"/>
          </p:nvPr>
        </p:nvPicPr>
        <p:blipFill>
          <a:blip r:embed="rId4"/>
          <a:srcRect l="22484" t="60938" r="53363" b="14966"/>
          <a:stretch>
            <a:fillRect/>
          </a:stretch>
        </p:blipFill>
        <p:spPr>
          <a:xfrm>
            <a:off x="2854325" y="3155315"/>
            <a:ext cx="6123305" cy="3435985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357782" y="158117"/>
            <a:ext cx="6501765" cy="42989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200" b="1" spc="-4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КАКИЕ ПРОФЕССИИ БУДУТ ВОСТРЕБОВАНЫ?</a:t>
            </a:r>
            <a:endParaRPr lang="ru-RU" sz="2200" b="1" spc="-4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39552" y="732082"/>
            <a:ext cx="842493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Пока мы осваиваем профессии юристов, экономистов, слесарей и поваров Илон </a:t>
            </a: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Маск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 грезит о полете на марс, 3D-принтеры начинают печатать человеческие органы, а Великобритания инвестирует миллионы фунтов стерлингов в подготовку ассистентов и помощников для роботов.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6" charset="0"/>
                <a:ea typeface="+mn-ea"/>
                <a:cs typeface="Times New Roman" panose="02020603050405020304" pitchFamily="16" charset="0"/>
              </a:rPr>
              <a:t>The New York Times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6" charset="0"/>
              <a:ea typeface="+mn-ea"/>
              <a:cs typeface="Times New Roman" panose="02020603050405020304" pitchFamily="16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2247965"/>
            <a:ext cx="3475870" cy="2749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040" y="2247965"/>
            <a:ext cx="3927368" cy="23802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909" y="4149080"/>
            <a:ext cx="3426182" cy="26138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6" y="0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4" name="Слайд think-cell" r:id="rId2" imgW="9525" imgH="9525" progId="TCLayout.ActiveDocument.1">
                  <p:embed/>
                </p:oleObj>
              </mc:Choice>
              <mc:Fallback>
                <p:oleObj name="Слайд think-cell" r:id="rId2" imgW="9525" imgH="9525" progId="TCLayout.ActiveDocument.1">
                  <p:embed/>
                  <p:pic>
                    <p:nvPicPr>
                      <p:cNvPr id="0" name="Изображение 112643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223159" y="68512"/>
            <a:ext cx="837530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4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Формирование </a:t>
            </a:r>
            <a:r>
              <a:rPr kumimoji="0" lang="ru-RU" sz="24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функциональной грамотности</a:t>
            </a:r>
            <a:endParaRPr kumimoji="0" lang="ru-RU" sz="24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4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в образовательной </a:t>
            </a:r>
            <a:r>
              <a:rPr kumimoji="0" lang="ru-RU" sz="24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рганизации</a:t>
            </a:r>
            <a:endParaRPr kumimoji="0" lang="ru-RU" sz="24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17554" y="1053396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4" name="Таблица 33"/>
          <p:cNvGraphicFramePr>
            <a:graphicFrameLocks noGrp="1"/>
          </p:cNvGraphicFramePr>
          <p:nvPr/>
        </p:nvGraphicFramePr>
        <p:xfrm>
          <a:off x="115645" y="1118576"/>
          <a:ext cx="8911827" cy="47844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61066"/>
                <a:gridCol w="6650761"/>
              </a:tblGrid>
              <a:tr h="2418087">
                <a:tc>
                  <a:txBody>
                    <a:bodyPr/>
                    <a:lstStyle/>
                    <a:p>
                      <a:pPr algn="ctr"/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министративная деятельность</a:t>
                      </a:r>
                      <a:endParaRPr lang="ru-RU" sz="13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сение изменений в основную образовательную программу:</a:t>
                      </a:r>
                      <a:endParaRPr lang="ru-RU" sz="130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742950" lvl="1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й раздел: планируемые результаты и система оценки их достижения</a:t>
                      </a:r>
                      <a:endParaRPr lang="ru-RU" sz="130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742950" lvl="1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держательный раздел: корректировка программ учебных курсов, в том числе интегрированных</a:t>
                      </a:r>
                      <a:endParaRPr lang="ru-RU" sz="130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742950" lvl="1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онный: включение соответствующих курсов в часть учебного плана, формируемую участниками образовательных отношений, в план внеурочной деятельности </a:t>
                      </a:r>
                      <a:endParaRPr lang="ru-RU" sz="130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ключение в план методической работы образовательной организации серии семинаров-практикумов,</a:t>
                      </a:r>
                      <a:r>
                        <a:rPr lang="ru-RU" sz="13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правленных на совместную работу всего педагогического коллектива по формированию функциональной грамотности.</a:t>
                      </a:r>
                      <a:endParaRPr lang="ru-RU" sz="1300" baseline="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3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ие </a:t>
                      </a:r>
                      <a:r>
                        <a:rPr lang="ru-RU" sz="1300" baseline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ишкольного</a:t>
                      </a:r>
                      <a:r>
                        <a:rPr lang="ru-RU" sz="13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ониторинга </a:t>
                      </a:r>
                      <a:r>
                        <a:rPr lang="ru-RU" sz="1300" baseline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формированности</a:t>
                      </a:r>
                      <a:r>
                        <a:rPr lang="ru-RU" sz="13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функциональной грамотности учащихся с 5 по 9 класс.</a:t>
                      </a:r>
                      <a:endParaRPr lang="ru-RU" sz="13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anchor="ctr"/>
                </a:tc>
              </a:tr>
              <a:tr h="639138">
                <a:tc>
                  <a:txBody>
                    <a:bodyPr/>
                    <a:lstStyle/>
                    <a:p>
                      <a:pPr algn="ctr"/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чная деятельность</a:t>
                      </a:r>
                      <a:endParaRPr lang="ru-RU" sz="13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шение контекстных</a:t>
                      </a:r>
                      <a:r>
                        <a:rPr lang="ru-RU" sz="13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адач в рамках уроков по всем предметам учебного плана.</a:t>
                      </a:r>
                      <a:endParaRPr lang="ru-RU" sz="13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anchor="ctr"/>
                </a:tc>
              </a:tr>
              <a:tr h="1329389">
                <a:tc>
                  <a:txBody>
                    <a:bodyPr/>
                    <a:lstStyle/>
                    <a:p>
                      <a:pPr algn="ctr"/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урочная деятельность</a:t>
                      </a:r>
                      <a:endParaRPr lang="ru-RU" sz="13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о-исследовательская работа обучающихся с активным использованием </a:t>
                      </a:r>
                      <a:r>
                        <a:rPr lang="ru-RU" sz="130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апредметных</a:t>
                      </a:r>
                      <a:r>
                        <a:rPr lang="ru-RU" sz="13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</a:t>
                      </a:r>
                      <a:r>
                        <a:rPr lang="ru-RU" sz="130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жпредметных</a:t>
                      </a:r>
                      <a:r>
                        <a:rPr lang="ru-RU" sz="13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оектов и исследований. </a:t>
                      </a:r>
                      <a:endParaRPr lang="ru-RU" sz="130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3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ключение в план внеурочной деятельности образовательной организации  образовательных событий,</a:t>
                      </a:r>
                      <a:r>
                        <a:rPr lang="ru-RU" sz="13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правленных на совместную работу всего педагогического коллектива по формированию функциональной грамотности (межпредметные недели, учебно-исследовательские конференции, межпредметные марафоны</a:t>
                      </a:r>
                      <a:r>
                        <a:rPr lang="en-US" sz="13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 т.д.).</a:t>
                      </a:r>
                      <a:endParaRPr lang="ru-RU" sz="13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anchor="ctr"/>
                </a:tc>
              </a:tr>
            </a:tbl>
          </a:graphicData>
        </a:graphic>
      </p:graphicFrame>
      <p:sp>
        <p:nvSpPr>
          <p:cNvPr id="36" name="Прямоугольник 35"/>
          <p:cNvSpPr/>
          <p:nvPr/>
        </p:nvSpPr>
        <p:spPr>
          <a:xfrm>
            <a:off x="116086" y="6144280"/>
            <a:ext cx="8911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упка учебных пособий возможна в соответствии со статьей 35 Федерального закона от 29.12.2012 № 273-ФЗ «Об образовании в Российской Федерации»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Стрелка вниз 50"/>
          <p:cNvSpPr/>
          <p:nvPr/>
        </p:nvSpPr>
        <p:spPr>
          <a:xfrm>
            <a:off x="899591" y="5790812"/>
            <a:ext cx="639391" cy="370861"/>
          </a:xfrm>
          <a:prstGeom prst="downArrow">
            <a:avLst>
              <a:gd name="adj1" fmla="val 46570"/>
              <a:gd name="adj2" fmla="val 50000"/>
            </a:avLst>
          </a:prstGeom>
          <a:noFill/>
          <a:ln cmpd="sng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800" b="0" i="0" u="none" strike="noStrike" kern="1200" cap="none" spc="0" normalizeH="0" baseline="0" noProof="0">
              <a:ln>
                <a:solidFill>
                  <a:srgbClr val="4472C4">
                    <a:lumMod val="75000"/>
                  </a:srgbClr>
                </a:solidFill>
              </a:ln>
              <a:noFill/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7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9840" y="133368"/>
            <a:ext cx="1604902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1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ru-RU" altLang="en-US"/>
          </a:p>
        </p:txBody>
      </p:sp>
      <p:sp>
        <p:nvSpPr>
          <p:cNvPr id="54275" name="Line 2"/>
          <p:cNvSpPr>
            <a:spLocks noChangeShapeType="1"/>
          </p:cNvSpPr>
          <p:nvPr/>
        </p:nvSpPr>
        <p:spPr bwMode="auto">
          <a:xfrm>
            <a:off x="0" y="765175"/>
            <a:ext cx="9144000" cy="1588"/>
          </a:xfrm>
          <a:prstGeom prst="line">
            <a:avLst/>
          </a:prstGeom>
          <a:noFill/>
          <a:ln w="12600">
            <a:solidFill>
              <a:srgbClr val="4F81BD"/>
            </a:solidFill>
            <a:round/>
          </a:ln>
          <a:effectLst>
            <a:outerShdw dist="23040" dir="5400000" algn="ctr" rotWithShape="0">
              <a:srgbClr val="000000">
                <a:alpha val="35036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4276" name="Rectangle 3"/>
          <p:cNvSpPr>
            <a:spLocks noChangeArrowheads="1"/>
          </p:cNvSpPr>
          <p:nvPr/>
        </p:nvSpPr>
        <p:spPr bwMode="auto">
          <a:xfrm>
            <a:off x="947738" y="-119063"/>
            <a:ext cx="7886700" cy="882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b"/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>
              <a:lnSpc>
                <a:spcPct val="90000"/>
              </a:lnSpc>
            </a:pPr>
            <a:r>
              <a:rPr lang="en-US" altLang="ru-RU" sz="4000">
                <a:solidFill>
                  <a:srgbClr val="294790"/>
                </a:solidFill>
                <a:latin typeface="Impact" panose="020B0806030902050204" pitchFamily="32" charset="0"/>
              </a:rPr>
              <a:t>Наш официальный сайт</a:t>
            </a:r>
            <a:endParaRPr lang="en-US" altLang="ru-RU" sz="4000">
              <a:solidFill>
                <a:srgbClr val="294790"/>
              </a:solidFill>
              <a:latin typeface="Impact" panose="020B0806030902050204" pitchFamily="32" charset="0"/>
            </a:endParaRPr>
          </a:p>
        </p:txBody>
      </p:sp>
      <p:sp>
        <p:nvSpPr>
          <p:cNvPr id="54277" name="Rectangle 4"/>
          <p:cNvSpPr>
            <a:spLocks noChangeArrowheads="1"/>
          </p:cNvSpPr>
          <p:nvPr/>
        </p:nvSpPr>
        <p:spPr bwMode="auto">
          <a:xfrm>
            <a:off x="80963" y="798513"/>
            <a:ext cx="8642350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>
              <a:lnSpc>
                <a:spcPct val="100000"/>
              </a:lnSpc>
            </a:pPr>
            <a:r>
              <a:rPr lang="en-US" altLang="ru-RU" sz="3200" b="1">
                <a:solidFill>
                  <a:srgbClr val="2F538E"/>
                </a:solidFill>
                <a:ea typeface="WenQuanYi Micro Hei" charset="0"/>
                <a:cs typeface="Arial" panose="020B0604020202020204" pitchFamily="34" charset="0"/>
              </a:rPr>
              <a:t>https://prosv.ru/</a:t>
            </a:r>
            <a:endParaRPr lang="en-US" altLang="ru-RU" sz="3200" b="1">
              <a:solidFill>
                <a:srgbClr val="2F538E"/>
              </a:solidFill>
              <a:ea typeface="WenQuanYi Micro Hei" charset="0"/>
              <a:cs typeface="Arial" panose="020B0604020202020204" pitchFamily="34" charset="0"/>
            </a:endParaRPr>
          </a:p>
        </p:txBody>
      </p:sp>
      <p:pic>
        <p:nvPicPr>
          <p:cNvPr id="54279" name="Picture 6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4280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4281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463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" name="Замещающее содержимое 1"/>
          <p:cNvPicPr>
            <a:picLocks noChangeAspect="1"/>
          </p:cNvPicPr>
          <p:nvPr>
            <p:ph idx="1"/>
          </p:nvPr>
        </p:nvPicPr>
        <p:blipFill>
          <a:blip r:embed="rId4"/>
          <a:srcRect t="11310" r="8285" b="12987"/>
          <a:stretch>
            <a:fillRect/>
          </a:stretch>
        </p:blipFill>
        <p:spPr>
          <a:xfrm>
            <a:off x="114300" y="1809750"/>
            <a:ext cx="8916035" cy="4140200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1"/>
          <p:cNvSpPr>
            <a:spLocks noGrp="1" noChangeArrowheads="1"/>
          </p:cNvSpPr>
          <p:nvPr>
            <p:ph type="title"/>
          </p:nvPr>
        </p:nvSpPr>
        <p:spPr>
          <a:xfrm>
            <a:off x="0" y="196850"/>
            <a:ext cx="8483600" cy="1143000"/>
          </a:xfrm>
          <a:extLs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</a:extLst>
        </p:spPr>
        <p:txBody>
          <a:bodyPr lIns="45720" tIns="45720" rIns="45720" bIns="45720"/>
          <a:lstStyle/>
          <a:p>
            <a:pPr eaLnBrk="1"/>
            <a:endParaRPr lang="ru-RU" altLang="ru-RU" smtClean="0"/>
          </a:p>
        </p:txBody>
      </p:sp>
      <p:sp>
        <p:nvSpPr>
          <p:cNvPr id="55299" name="Line 2"/>
          <p:cNvSpPr>
            <a:spLocks noChangeShapeType="1"/>
          </p:cNvSpPr>
          <p:nvPr/>
        </p:nvSpPr>
        <p:spPr bwMode="auto">
          <a:xfrm>
            <a:off x="0" y="765175"/>
            <a:ext cx="9144000" cy="1588"/>
          </a:xfrm>
          <a:prstGeom prst="line">
            <a:avLst/>
          </a:prstGeom>
          <a:noFill/>
          <a:ln w="12600">
            <a:solidFill>
              <a:srgbClr val="4F81BD"/>
            </a:solidFill>
            <a:round/>
          </a:ln>
          <a:effectLst>
            <a:outerShdw dist="23040" dir="5400000" algn="ctr" rotWithShape="0">
              <a:srgbClr val="000000">
                <a:alpha val="35036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5300" name="Rectangle 3"/>
          <p:cNvSpPr>
            <a:spLocks noChangeArrowheads="1"/>
          </p:cNvSpPr>
          <p:nvPr/>
        </p:nvSpPr>
        <p:spPr bwMode="auto">
          <a:xfrm>
            <a:off x="1881188" y="50800"/>
            <a:ext cx="7164387" cy="993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altLang="ru-RU" sz="2200">
                <a:solidFill>
                  <a:srgbClr val="294790"/>
                </a:solidFill>
                <a:latin typeface="Impact" panose="020B0806030902050204" pitchFamily="32" charset="0"/>
              </a:rPr>
              <a:t>Сервисы для педагогов на сайте</a:t>
            </a:r>
            <a:br>
              <a:rPr lang="en-US" altLang="ru-RU" sz="2200">
                <a:solidFill>
                  <a:srgbClr val="294790"/>
                </a:solidFill>
                <a:latin typeface="Impact" panose="020B0806030902050204" pitchFamily="32" charset="0"/>
              </a:rPr>
            </a:br>
            <a:r>
              <a:rPr lang="en-US" altLang="ru-RU" sz="2200">
                <a:solidFill>
                  <a:srgbClr val="294790"/>
                </a:solidFill>
                <a:latin typeface="Impact" panose="020B0806030902050204" pitchFamily="32" charset="0"/>
              </a:rPr>
              <a:t>Группы компаний «Просвещение»  prosv.ru </a:t>
            </a:r>
            <a:br>
              <a:rPr lang="en-US" altLang="ru-RU" sz="2200" b="1">
                <a:solidFill>
                  <a:srgbClr val="294790"/>
                </a:solidFill>
                <a:latin typeface="Impact" panose="020B0806030902050204" pitchFamily="32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altLang="ru-RU" sz="2200" b="1">
              <a:solidFill>
                <a:srgbClr val="294790"/>
              </a:solidFill>
              <a:latin typeface="Impact" panose="020B0806030902050204" pitchFamily="3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301" name="Rectangle 4"/>
          <p:cNvSpPr>
            <a:spLocks noChangeArrowheads="1"/>
          </p:cNvSpPr>
          <p:nvPr/>
        </p:nvSpPr>
        <p:spPr bwMode="auto">
          <a:xfrm>
            <a:off x="2098675" y="2146300"/>
            <a:ext cx="549751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altLang="ru-RU" sz="2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US" altLang="ru-RU" sz="2200" b="1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302" name="Rectangle 5"/>
          <p:cNvSpPr>
            <a:spLocks noChangeArrowheads="1"/>
          </p:cNvSpPr>
          <p:nvPr/>
        </p:nvSpPr>
        <p:spPr bwMode="auto">
          <a:xfrm>
            <a:off x="201613" y="1820863"/>
            <a:ext cx="1009650" cy="512762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560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1000" tIns="81000" rIns="81000" bIns="81000" anchor="ctr"/>
          <a:lstStyle>
            <a:lvl1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>
              <a:lnSpc>
                <a:spcPct val="100000"/>
              </a:lnSpc>
            </a:pPr>
            <a:r>
              <a:rPr lang="en-US" altLang="ru-RU" sz="1400" b="1">
                <a:solidFill>
                  <a:srgbClr val="FFFFFF"/>
                </a:solidFill>
                <a:latin typeface="Calibri" panose="020F0502020204030204" charset="0"/>
              </a:rPr>
              <a:t>Каталог </a:t>
            </a:r>
            <a:endParaRPr lang="en-US" altLang="ru-RU" sz="1400" b="1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55303" name="Rectangle 6"/>
          <p:cNvSpPr>
            <a:spLocks noChangeArrowheads="1"/>
          </p:cNvSpPr>
          <p:nvPr/>
        </p:nvSpPr>
        <p:spPr bwMode="auto">
          <a:xfrm>
            <a:off x="1320800" y="1820863"/>
            <a:ext cx="1223963" cy="512762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560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1000" tIns="81000" rIns="81000" bIns="81000" anchor="ctr"/>
          <a:lstStyle>
            <a:lvl1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>
              <a:lnSpc>
                <a:spcPct val="100000"/>
              </a:lnSpc>
            </a:pPr>
            <a:r>
              <a:rPr lang="en-US" altLang="ru-RU" sz="1400" b="1">
                <a:solidFill>
                  <a:srgbClr val="FFFFFF"/>
                </a:solidFill>
                <a:latin typeface="Calibri" panose="020F0502020204030204" charset="0"/>
              </a:rPr>
              <a:t>Горячая линия</a:t>
            </a:r>
            <a:endParaRPr lang="en-US" altLang="ru-RU" sz="1400" b="1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55304" name="Rectangle 7"/>
          <p:cNvSpPr>
            <a:spLocks noChangeArrowheads="1"/>
          </p:cNvSpPr>
          <p:nvPr/>
        </p:nvSpPr>
        <p:spPr bwMode="auto">
          <a:xfrm>
            <a:off x="6645275" y="1835150"/>
            <a:ext cx="2254250" cy="498475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560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1000" tIns="81000" rIns="81000" bIns="81000" anchor="ctr"/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>
              <a:lnSpc>
                <a:spcPct val="100000"/>
              </a:lnSpc>
            </a:pPr>
            <a:r>
              <a:rPr lang="en-US" altLang="ru-RU" sz="1100" b="1">
                <a:solidFill>
                  <a:srgbClr val="FFFFFF"/>
                </a:solidFill>
                <a:latin typeface="Calibri" panose="020F0502020204030204" charset="0"/>
              </a:rPr>
              <a:t>Материалы для подготовки к участию в международных исследованиях</a:t>
            </a:r>
            <a:endParaRPr lang="en-US" altLang="ru-RU" sz="1100" b="1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55305" name="Rectangle 8"/>
          <p:cNvSpPr>
            <a:spLocks noChangeArrowheads="1"/>
          </p:cNvSpPr>
          <p:nvPr/>
        </p:nvSpPr>
        <p:spPr bwMode="auto">
          <a:xfrm>
            <a:off x="60325" y="3133725"/>
            <a:ext cx="1285875" cy="28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8760" tIns="34200" rIns="68760" bIns="3420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eaLnBrk="1">
              <a:lnSpc>
                <a:spcPct val="100000"/>
              </a:lnSpc>
            </a:pPr>
            <a:r>
              <a:rPr lang="en-US" altLang="ru-RU" sz="1400" u="sng">
                <a:solidFill>
                  <a:srgbClr val="1F497D"/>
                </a:solidFill>
                <a:latin typeface="Calibri" panose="020F0502020204030204" charset="0"/>
              </a:rPr>
              <a:t>catalog.prosv.ru</a:t>
            </a:r>
            <a:endParaRPr lang="en-US" altLang="ru-RU" sz="1400" u="sng">
              <a:solidFill>
                <a:srgbClr val="1F497D"/>
              </a:solidFill>
              <a:latin typeface="Calibri" panose="020F0502020204030204" charset="0"/>
            </a:endParaRPr>
          </a:p>
        </p:txBody>
      </p:sp>
      <p:pic>
        <p:nvPicPr>
          <p:cNvPr id="55306" name="Picture 9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2508250"/>
            <a:ext cx="355600" cy="42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5307" name="Rectangle 10"/>
          <p:cNvSpPr>
            <a:spLocks noChangeArrowheads="1"/>
          </p:cNvSpPr>
          <p:nvPr/>
        </p:nvSpPr>
        <p:spPr bwMode="auto">
          <a:xfrm>
            <a:off x="1362075" y="3124200"/>
            <a:ext cx="1370013" cy="28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8760" tIns="34200" rIns="68760" bIns="3420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eaLnBrk="1">
              <a:lnSpc>
                <a:spcPct val="100000"/>
              </a:lnSpc>
            </a:pPr>
            <a:r>
              <a:rPr lang="en-US" altLang="ru-RU" sz="1400" u="sng">
                <a:solidFill>
                  <a:srgbClr val="1F497D"/>
                </a:solidFill>
                <a:latin typeface="Calibri" panose="020F0502020204030204" charset="0"/>
              </a:rPr>
              <a:t>vopros@prosv.ru</a:t>
            </a:r>
            <a:endParaRPr lang="en-US" altLang="ru-RU" sz="1400" u="sng">
              <a:solidFill>
                <a:srgbClr val="1F497D"/>
              </a:solidFill>
              <a:latin typeface="Calibri" panose="020F0502020204030204" charset="0"/>
            </a:endParaRPr>
          </a:p>
        </p:txBody>
      </p:sp>
      <p:pic>
        <p:nvPicPr>
          <p:cNvPr id="55308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9563" y="2405063"/>
            <a:ext cx="723900" cy="51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5309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87"/>
          <a:stretch>
            <a:fillRect/>
          </a:stretch>
        </p:blipFill>
        <p:spPr bwMode="auto">
          <a:xfrm>
            <a:off x="3143250" y="2428875"/>
            <a:ext cx="682625" cy="71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l="36287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5310" name="Rectangle 13"/>
          <p:cNvSpPr>
            <a:spLocks noChangeArrowheads="1"/>
          </p:cNvSpPr>
          <p:nvPr/>
        </p:nvSpPr>
        <p:spPr bwMode="auto">
          <a:xfrm>
            <a:off x="2701925" y="1820863"/>
            <a:ext cx="1479550" cy="512762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560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1000" tIns="81000" rIns="81000" bIns="81000" anchor="ctr"/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>
              <a:lnSpc>
                <a:spcPct val="100000"/>
              </a:lnSpc>
            </a:pPr>
            <a:r>
              <a:rPr lang="en-US" altLang="ru-RU" sz="1400" b="1">
                <a:solidFill>
                  <a:srgbClr val="FFFFFF"/>
                </a:solidFill>
                <a:latin typeface="Calibri" panose="020F0502020204030204" charset="0"/>
              </a:rPr>
              <a:t>Рабочие программы</a:t>
            </a:r>
            <a:endParaRPr lang="en-US" altLang="ru-RU" sz="1400" b="1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55311" name="Rectangle 14"/>
          <p:cNvSpPr>
            <a:spLocks noChangeArrowheads="1"/>
          </p:cNvSpPr>
          <p:nvPr/>
        </p:nvSpPr>
        <p:spPr bwMode="auto">
          <a:xfrm>
            <a:off x="3138488" y="3073400"/>
            <a:ext cx="882650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8760" tIns="34200" rIns="68760" bIns="34200">
            <a:spAutoFit/>
          </a:bodyPr>
          <a:lstStyle>
            <a:lvl1pPr eaLnBrk="0">
              <a:tabLst>
                <a:tab pos="0" algn="l"/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eaLnBrk="1">
              <a:lnSpc>
                <a:spcPct val="100000"/>
              </a:lnSpc>
            </a:pPr>
            <a:r>
              <a:rPr lang="en-US" altLang="ru-RU" u="sng">
                <a:solidFill>
                  <a:srgbClr val="1F497D"/>
                </a:solidFill>
                <a:latin typeface="Calibri" panose="020F0502020204030204" charset="0"/>
              </a:rPr>
              <a:t>prosv.ru</a:t>
            </a:r>
            <a:endParaRPr lang="en-US" altLang="ru-RU" u="sng">
              <a:solidFill>
                <a:srgbClr val="1F497D"/>
              </a:solidFill>
              <a:latin typeface="Calibri" panose="020F0502020204030204" charset="0"/>
            </a:endParaRPr>
          </a:p>
        </p:txBody>
      </p:sp>
      <p:pic>
        <p:nvPicPr>
          <p:cNvPr id="55312" name="Picture 1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763" y="3636963"/>
            <a:ext cx="868362" cy="868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5313" name="Rectangle 16"/>
          <p:cNvSpPr>
            <a:spLocks noChangeArrowheads="1"/>
          </p:cNvSpPr>
          <p:nvPr/>
        </p:nvSpPr>
        <p:spPr bwMode="auto">
          <a:xfrm>
            <a:off x="438150" y="4633913"/>
            <a:ext cx="4572000" cy="236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68760" tIns="34200" rIns="68760" bIns="3420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>
              <a:lnSpc>
                <a:spcPct val="100000"/>
              </a:lnSpc>
            </a:pPr>
            <a:r>
              <a:rPr lang="en-US" altLang="ru-RU" sz="1100" b="1">
                <a:solidFill>
                  <a:srgbClr val="59595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pros@prosv.ru</a:t>
            </a:r>
            <a:endParaRPr lang="en-US" altLang="ru-RU" sz="1100" b="1">
              <a:solidFill>
                <a:srgbClr val="595959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55314" name="Picture 1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5" y="3636963"/>
            <a:ext cx="868363" cy="868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5315" name="Rectangle 18"/>
          <p:cNvSpPr>
            <a:spLocks noChangeArrowheads="1"/>
          </p:cNvSpPr>
          <p:nvPr/>
        </p:nvSpPr>
        <p:spPr bwMode="auto">
          <a:xfrm>
            <a:off x="3835400" y="4621213"/>
            <a:ext cx="1109663" cy="236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68760" tIns="34200" rIns="68760" bIns="3420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>
              <a:lnSpc>
                <a:spcPct val="100000"/>
              </a:lnSpc>
            </a:pPr>
            <a:r>
              <a:rPr lang="en-US" altLang="ru-RU" sz="1100" b="1">
                <a:solidFill>
                  <a:srgbClr val="59595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hop.prosv.ru</a:t>
            </a:r>
            <a:endParaRPr lang="en-US" altLang="ru-RU" sz="1100" b="1">
              <a:solidFill>
                <a:srgbClr val="595959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55316" name="Picture 1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1025" y="3595688"/>
            <a:ext cx="957263" cy="957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5317" name="Rectangle 20"/>
          <p:cNvSpPr>
            <a:spLocks noChangeArrowheads="1"/>
          </p:cNvSpPr>
          <p:nvPr/>
        </p:nvSpPr>
        <p:spPr bwMode="auto">
          <a:xfrm>
            <a:off x="5503863" y="4595813"/>
            <a:ext cx="1333500" cy="236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68760" tIns="34200" rIns="68760" bIns="3420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>
              <a:lnSpc>
                <a:spcPct val="100000"/>
              </a:lnSpc>
            </a:pPr>
            <a:r>
              <a:rPr lang="en-US" altLang="ru-RU" sz="1100" b="1">
                <a:solidFill>
                  <a:srgbClr val="59595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cademy.prosv.ru</a:t>
            </a:r>
            <a:endParaRPr lang="en-US" altLang="ru-RU" sz="1100" b="1">
              <a:solidFill>
                <a:srgbClr val="595959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5318" name="Rectangle 21"/>
          <p:cNvSpPr>
            <a:spLocks noChangeArrowheads="1"/>
          </p:cNvSpPr>
          <p:nvPr/>
        </p:nvSpPr>
        <p:spPr bwMode="auto">
          <a:xfrm>
            <a:off x="6519863" y="3071813"/>
            <a:ext cx="2506662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8760" tIns="34200" rIns="68760" bIns="3420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eaLnBrk="1">
              <a:lnSpc>
                <a:spcPct val="100000"/>
              </a:lnSpc>
            </a:pPr>
            <a:r>
              <a:rPr lang="en-US" altLang="ru-RU" u="sng">
                <a:solidFill>
                  <a:srgbClr val="000080"/>
                </a:solidFill>
                <a:latin typeface="Calibri" panose="020F0502020204030204" charset="0"/>
                <a:hlinkClick r:id="rId6"/>
              </a:rPr>
              <a:t>prosv.ru/pages/pisa.html</a:t>
            </a:r>
            <a:r>
              <a:rPr lang="en-US" altLang="ru-RU" sz="1400" b="1">
                <a:solidFill>
                  <a:srgbClr val="215968"/>
                </a:solidFill>
                <a:ea typeface="WenQuanYi Micro Hei" charset="0"/>
                <a:cs typeface="Arial" panose="020B0604020202020204" pitchFamily="34" charset="0"/>
              </a:rPr>
              <a:t> </a:t>
            </a:r>
            <a:endParaRPr lang="en-US" altLang="ru-RU" sz="1400" b="1">
              <a:solidFill>
                <a:srgbClr val="215968"/>
              </a:solidFill>
              <a:ea typeface="WenQuanYi Micro Hei" charset="0"/>
              <a:cs typeface="Arial" panose="020B0604020202020204" pitchFamily="34" charset="0"/>
            </a:endParaRPr>
          </a:p>
        </p:txBody>
      </p:sp>
      <p:sp>
        <p:nvSpPr>
          <p:cNvPr id="55319" name="Rectangle 22"/>
          <p:cNvSpPr>
            <a:spLocks noChangeArrowheads="1"/>
          </p:cNvSpPr>
          <p:nvPr/>
        </p:nvSpPr>
        <p:spPr bwMode="auto">
          <a:xfrm>
            <a:off x="4510088" y="3073400"/>
            <a:ext cx="1985962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68760" tIns="34200" rIns="68760" bIns="3420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eaLnBrk="1">
              <a:lnSpc>
                <a:spcPct val="100000"/>
              </a:lnSpc>
            </a:pPr>
            <a:r>
              <a:rPr lang="en-US" altLang="ru-RU" u="sng">
                <a:solidFill>
                  <a:srgbClr val="1F497D"/>
                </a:solidFill>
                <a:latin typeface="Calibri" panose="020F0502020204030204" charset="0"/>
              </a:rPr>
              <a:t>prosv.ru/reklama/</a:t>
            </a:r>
            <a:endParaRPr lang="en-US" altLang="ru-RU" u="sng">
              <a:solidFill>
                <a:srgbClr val="1F497D"/>
              </a:solidFill>
              <a:latin typeface="Calibri" panose="020F0502020204030204" charset="0"/>
            </a:endParaRPr>
          </a:p>
        </p:txBody>
      </p:sp>
      <p:sp>
        <p:nvSpPr>
          <p:cNvPr id="55320" name="Rectangle 23"/>
          <p:cNvSpPr>
            <a:spLocks noChangeArrowheads="1"/>
          </p:cNvSpPr>
          <p:nvPr/>
        </p:nvSpPr>
        <p:spPr bwMode="auto">
          <a:xfrm>
            <a:off x="4335463" y="1833563"/>
            <a:ext cx="2239962" cy="498475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560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1000" tIns="81000" rIns="81000" bIns="81000" anchor="ctr"/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>
              <a:lnSpc>
                <a:spcPct val="100000"/>
              </a:lnSpc>
            </a:pPr>
            <a:r>
              <a:rPr lang="en-US" altLang="ru-RU" sz="1200" b="1">
                <a:solidFill>
                  <a:srgbClr val="FFFFFF"/>
                </a:solidFill>
                <a:latin typeface="Calibri" panose="020F0502020204030204" charset="0"/>
              </a:rPr>
              <a:t>Презентации и рекламные материалы</a:t>
            </a:r>
            <a:endParaRPr lang="en-US" altLang="ru-RU" sz="1200" b="1">
              <a:solidFill>
                <a:srgbClr val="FFFFFF"/>
              </a:solidFill>
              <a:latin typeface="Calibri" panose="020F0502020204030204" charset="0"/>
            </a:endParaRPr>
          </a:p>
        </p:txBody>
      </p:sp>
      <p:pic>
        <p:nvPicPr>
          <p:cNvPr id="55321" name="Picture 2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4125" y="2389188"/>
            <a:ext cx="784225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5322" name="Picture 2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8988" y="2455863"/>
            <a:ext cx="1066800" cy="601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5323" name="Text Box 26"/>
          <p:cNvSpPr txBox="1">
            <a:spLocks noChangeArrowheads="1"/>
          </p:cNvSpPr>
          <p:nvPr/>
        </p:nvSpPr>
        <p:spPr bwMode="auto">
          <a:xfrm>
            <a:off x="6457950" y="4767263"/>
            <a:ext cx="20574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/>
          </a:p>
        </p:txBody>
      </p:sp>
      <p:pic>
        <p:nvPicPr>
          <p:cNvPr id="55324" name="Picture 2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5325" name="Picture 2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5326" name="Picture 2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800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1"/>
          <p:cNvSpPr>
            <a:spLocks noGrp="1" noChangeArrowheads="1"/>
          </p:cNvSpPr>
          <p:nvPr>
            <p:ph type="title"/>
          </p:nvPr>
        </p:nvSpPr>
        <p:spPr>
          <a:xfrm>
            <a:off x="0" y="196850"/>
            <a:ext cx="8483600" cy="1143000"/>
          </a:xfrm>
          <a:extLs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</a:extLst>
        </p:spPr>
        <p:txBody>
          <a:bodyPr lIns="45720" tIns="45720" rIns="45720" bIns="45720"/>
          <a:lstStyle/>
          <a:p>
            <a:pPr eaLnBrk="1"/>
            <a:endParaRPr lang="ru-RU" altLang="ru-RU" smtClean="0"/>
          </a:p>
        </p:txBody>
      </p:sp>
      <p:sp>
        <p:nvSpPr>
          <p:cNvPr id="56323" name="Rectangle 2"/>
          <p:cNvSpPr>
            <a:spLocks noChangeArrowheads="1"/>
          </p:cNvSpPr>
          <p:nvPr/>
        </p:nvSpPr>
        <p:spPr bwMode="auto">
          <a:xfrm>
            <a:off x="1882775" y="53975"/>
            <a:ext cx="7127875" cy="639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45720" rIns="45720" anchor="ctr"/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altLang="ru-RU" sz="4400">
                <a:solidFill>
                  <a:srgbClr val="FFFFFF"/>
                </a:solidFill>
                <a:latin typeface="Impact" panose="020B0806030902050204" pitchFamily="32" charset="0"/>
                <a:ea typeface="Helvetica Neue Black Condensed" charset="0"/>
                <a:cs typeface="Helvetica Neue Black Condensed" charset="0"/>
              </a:rPr>
              <a:t>ОСОБЕННОСТИ КУРСА</a:t>
            </a:r>
            <a:endParaRPr lang="en-US" altLang="ru-RU" sz="4400">
              <a:solidFill>
                <a:srgbClr val="FFFFFF"/>
              </a:solidFill>
              <a:latin typeface="Impact" panose="020B0806030902050204" pitchFamily="32" charset="0"/>
              <a:ea typeface="Helvetica Neue Black Condensed" charset="0"/>
              <a:cs typeface="Helvetica Neue Black Condensed" charset="0"/>
            </a:endParaRPr>
          </a:p>
        </p:txBody>
      </p:sp>
      <p:sp>
        <p:nvSpPr>
          <p:cNvPr id="56324" name="Line 3"/>
          <p:cNvSpPr>
            <a:spLocks noChangeShapeType="1"/>
          </p:cNvSpPr>
          <p:nvPr/>
        </p:nvSpPr>
        <p:spPr bwMode="auto">
          <a:xfrm>
            <a:off x="0" y="765175"/>
            <a:ext cx="9144000" cy="1588"/>
          </a:xfrm>
          <a:prstGeom prst="line">
            <a:avLst/>
          </a:prstGeom>
          <a:noFill/>
          <a:ln w="12600">
            <a:solidFill>
              <a:srgbClr val="4F81BD"/>
            </a:solidFill>
            <a:round/>
          </a:ln>
          <a:effectLst>
            <a:outerShdw dist="23040" dir="5400000" algn="ctr" rotWithShape="0">
              <a:srgbClr val="000000">
                <a:alpha val="35036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6325" name="Rectangle 4"/>
          <p:cNvSpPr>
            <a:spLocks noChangeArrowheads="1"/>
          </p:cNvSpPr>
          <p:nvPr/>
        </p:nvSpPr>
        <p:spPr bwMode="auto">
          <a:xfrm>
            <a:off x="180975" y="5346700"/>
            <a:ext cx="8766175" cy="1187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altLang="ru-RU" sz="2200" b="1">
                <a:solidFill>
                  <a:srgbClr val="376092"/>
                </a:solidFill>
                <a:ea typeface="WenQuanYi Micro Hei" charset="0"/>
                <a:cs typeface="Arial" panose="020B0604020202020204" pitchFamily="34" charset="0"/>
              </a:rPr>
              <a:t>Ведущий методист ЦМПП Плечова Ольга Гарриевна</a:t>
            </a:r>
            <a:endParaRPr lang="en-US" altLang="ru-RU" sz="2200" b="1">
              <a:solidFill>
                <a:srgbClr val="376092"/>
              </a:solidFill>
              <a:ea typeface="WenQuanYi Micro Hei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100000"/>
              </a:lnSpc>
            </a:pPr>
            <a:r>
              <a:rPr lang="en-US" altLang="ru-RU" sz="2200" b="1">
                <a:solidFill>
                  <a:srgbClr val="376092"/>
                </a:solidFill>
                <a:ea typeface="WenQuanYi Micro Hei" charset="0"/>
                <a:cs typeface="Arial" panose="020B0604020202020204" pitchFamily="34" charset="0"/>
              </a:rPr>
              <a:t>Телефон:+79851708839;</a:t>
            </a:r>
            <a:endParaRPr lang="en-US" altLang="ru-RU" sz="2200" b="1">
              <a:solidFill>
                <a:srgbClr val="376092"/>
              </a:solidFill>
              <a:ea typeface="WenQuanYi Micro Hei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100000"/>
              </a:lnSpc>
            </a:pPr>
            <a:r>
              <a:rPr lang="en-US" altLang="ru-RU" sz="2200" b="1">
                <a:solidFill>
                  <a:srgbClr val="376092"/>
                </a:solidFill>
                <a:ea typeface="WenQuanYi Micro Hei" charset="0"/>
                <a:cs typeface="Arial" panose="020B0604020202020204" pitchFamily="34" charset="0"/>
              </a:rPr>
              <a:t>E-mail: </a:t>
            </a:r>
            <a:r>
              <a:rPr lang="en-US" altLang="ru-RU" sz="2800" b="1" u="sng">
                <a:solidFill>
                  <a:srgbClr val="0000FF"/>
                </a:solidFill>
                <a:latin typeface="Arial Narrow" pitchFamily="32" charset="0"/>
                <a:ea typeface="WenQuanYi Micro Hei" charset="0"/>
                <a:cs typeface="Arial" panose="020B0604020202020204" pitchFamily="34" charset="0"/>
              </a:rPr>
              <a:t>OPlechova@prosv.ru</a:t>
            </a:r>
            <a:endParaRPr lang="en-US" altLang="ru-RU" sz="2800" b="1" u="sng">
              <a:solidFill>
                <a:srgbClr val="0000FF"/>
              </a:solidFill>
              <a:latin typeface="Arial Narrow" pitchFamily="32" charset="0"/>
              <a:ea typeface="WenQuanYi Micro Hei" charset="0"/>
              <a:cs typeface="Arial" panose="020B0604020202020204" pitchFamily="34" charset="0"/>
            </a:endParaRPr>
          </a:p>
        </p:txBody>
      </p:sp>
      <p:sp>
        <p:nvSpPr>
          <p:cNvPr id="56326" name="Rectangle 5"/>
          <p:cNvSpPr>
            <a:spLocks noChangeArrowheads="1"/>
          </p:cNvSpPr>
          <p:nvPr/>
        </p:nvSpPr>
        <p:spPr bwMode="auto">
          <a:xfrm>
            <a:off x="1462088" y="82550"/>
            <a:ext cx="7854950" cy="57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45720" rIns="4572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>
              <a:lnSpc>
                <a:spcPct val="100000"/>
              </a:lnSpc>
            </a:pPr>
            <a:r>
              <a:rPr lang="en-US" altLang="ru-RU" sz="3200">
                <a:solidFill>
                  <a:srgbClr val="0070C0"/>
                </a:solidFill>
                <a:latin typeface="Arial Black" panose="020B0A04020102020204" pitchFamily="32" charset="0"/>
                <a:ea typeface="WenQuanYi Micro Hei" charset="0"/>
                <a:cs typeface="Arial" panose="020B0604020202020204" pitchFamily="34" charset="0"/>
              </a:rPr>
              <a:t>БЛАГОДАРИМ ЗА ВНИМАНИЕ!</a:t>
            </a:r>
            <a:endParaRPr lang="en-US" altLang="ru-RU" sz="3200">
              <a:solidFill>
                <a:srgbClr val="0070C0"/>
              </a:solidFill>
              <a:latin typeface="Arial Black" panose="020B0A04020102020204" pitchFamily="32" charset="0"/>
              <a:ea typeface="WenQuanYi Micro Hei" charset="0"/>
              <a:cs typeface="Arial" panose="020B0604020202020204" pitchFamily="34" charset="0"/>
            </a:endParaRPr>
          </a:p>
        </p:txBody>
      </p:sp>
      <p:pic>
        <p:nvPicPr>
          <p:cNvPr id="56327" name="Picture 6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" y="1700213"/>
            <a:ext cx="8577263" cy="3527425"/>
          </a:xfrm>
          <a:prstGeom prst="rect">
            <a:avLst/>
          </a:prstGeom>
          <a:noFill/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6328" name="Rectangle 7"/>
          <p:cNvSpPr>
            <a:spLocks noChangeArrowheads="1"/>
          </p:cNvSpPr>
          <p:nvPr/>
        </p:nvSpPr>
        <p:spPr bwMode="auto">
          <a:xfrm>
            <a:off x="292100" y="974725"/>
            <a:ext cx="8412163" cy="639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45720" rIns="4572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6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charset="0"/>
                <a:cs typeface="Calibri" panose="020F0502020204030204" charset="0"/>
              </a:defRPr>
            </a:lvl9pPr>
          </a:lstStyle>
          <a:p>
            <a:pPr algn="ctr" eaLnBrk="1">
              <a:lnSpc>
                <a:spcPct val="100000"/>
              </a:lnSpc>
            </a:pPr>
            <a:r>
              <a:rPr lang="en-US" altLang="ru-RU" i="1">
                <a:solidFill>
                  <a:srgbClr val="002060"/>
                </a:solidFill>
                <a:ea typeface="WenQuanYi Micro Hei" charset="0"/>
                <a:cs typeface="Arial" panose="020B0604020202020204" pitchFamily="34" charset="0"/>
              </a:rPr>
              <a:t>В презентации использованы фото и материалы, расположенные в свободном доступе в сети Интернет </a:t>
            </a:r>
            <a:endParaRPr lang="en-US" altLang="ru-RU" i="1">
              <a:solidFill>
                <a:srgbClr val="002060"/>
              </a:solidFill>
              <a:ea typeface="WenQuanYi Micro Hei" charset="0"/>
              <a:cs typeface="Arial" panose="020B0604020202020204" pitchFamily="34" charset="0"/>
            </a:endParaRPr>
          </a:p>
        </p:txBody>
      </p:sp>
      <p:pic>
        <p:nvPicPr>
          <p:cNvPr id="56329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517682" y="155643"/>
            <a:ext cx="6328509" cy="1076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Единая система оценки качества образования</a:t>
            </a:r>
            <a:endParaRPr kumimoji="0" lang="ru-RU" sz="3200" b="1" i="0" u="none" strike="noStrike" kern="1200" cap="none" spc="-40" normalizeH="0" baseline="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41"/>
          <p:cNvSpPr txBox="1"/>
          <p:nvPr/>
        </p:nvSpPr>
        <p:spPr>
          <a:xfrm>
            <a:off x="6623272" y="5534857"/>
            <a:ext cx="2184819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ждународные исследован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202648" y="3163953"/>
            <a:ext cx="310226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циональные исследования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ачеств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разован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89545" y="2995309"/>
            <a:ext cx="15788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осударственная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тогова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ттестац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51353" y="5367617"/>
            <a:ext cx="16523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российские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верочны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боты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235070" y="1282292"/>
            <a:ext cx="30691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щероссийская оценка по модел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SA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*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078708" y="6240993"/>
            <a:ext cx="6065669" cy="6172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*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каз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ИНПРОСВЕЩЕНИЯ N 219, РОСОБРНАДЗОРА приказ N 590, от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06.05.2019</a:t>
            </a:r>
            <a:r>
              <a:rPr lang="ru-RU" sz="900" dirty="0"/>
              <a:t>«Об утверждении методологии и критериев оценки качества общего образования в общеобразовательных организациях на основе практики международных исследований качества.."</a:t>
            </a:r>
            <a:endParaRPr lang="ru-RU" sz="900" dirty="0"/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7554" y="1274490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1983936" y="1281840"/>
            <a:ext cx="72648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ОВОЕ!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2368375" y="1768762"/>
            <a:ext cx="4407536" cy="4343079"/>
            <a:chOff x="3281123" y="1599044"/>
            <a:chExt cx="5676898" cy="4537666"/>
          </a:xfrm>
        </p:grpSpPr>
        <p:grpSp>
          <p:nvGrpSpPr>
            <p:cNvPr id="13" name="Группа 12"/>
            <p:cNvGrpSpPr/>
            <p:nvPr/>
          </p:nvGrpSpPr>
          <p:grpSpPr>
            <a:xfrm>
              <a:off x="3310533" y="1599044"/>
              <a:ext cx="5450890" cy="4537666"/>
              <a:chOff x="3359020" y="1489057"/>
              <a:chExt cx="5450890" cy="4537666"/>
            </a:xfrm>
          </p:grpSpPr>
          <p:sp>
            <p:nvSpPr>
              <p:cNvPr id="18" name="Полилиния: фигура 81"/>
              <p:cNvSpPr/>
              <p:nvPr/>
            </p:nvSpPr>
            <p:spPr>
              <a:xfrm>
                <a:off x="3359020" y="1490234"/>
                <a:ext cx="5450890" cy="4536489"/>
              </a:xfrm>
              <a:custGeom>
                <a:avLst/>
                <a:gdLst>
                  <a:gd name="connsiteX0" fmla="*/ 1239899 w 2487142"/>
                  <a:gd name="connsiteY0" fmla="*/ 337 h 2322329"/>
                  <a:gd name="connsiteX1" fmla="*/ 1507315 w 2487142"/>
                  <a:gd name="connsiteY1" fmla="*/ 197071 h 2322329"/>
                  <a:gd name="connsiteX2" fmla="*/ 1318646 w 2487142"/>
                  <a:gd name="connsiteY2" fmla="*/ 517080 h 2322329"/>
                  <a:gd name="connsiteX3" fmla="*/ 1318646 w 2487142"/>
                  <a:gd name="connsiteY3" fmla="*/ 895666 h 2322329"/>
                  <a:gd name="connsiteX4" fmla="*/ 1609891 w 2487142"/>
                  <a:gd name="connsiteY4" fmla="*/ 1097930 h 2322329"/>
                  <a:gd name="connsiteX5" fmla="*/ 1962538 w 2487142"/>
                  <a:gd name="connsiteY5" fmla="*/ 950500 h 2322329"/>
                  <a:gd name="connsiteX6" fmla="*/ 2121236 w 2487142"/>
                  <a:gd name="connsiteY6" fmla="*/ 672671 h 2322329"/>
                  <a:gd name="connsiteX7" fmla="*/ 2467867 w 2487142"/>
                  <a:gd name="connsiteY7" fmla="*/ 812594 h 2322329"/>
                  <a:gd name="connsiteX8" fmla="*/ 2325364 w 2487142"/>
                  <a:gd name="connsiteY8" fmla="*/ 1157361 h 2322329"/>
                  <a:gd name="connsiteX9" fmla="*/ 2016716 w 2487142"/>
                  <a:gd name="connsiteY9" fmla="*/ 1071990 h 2322329"/>
                  <a:gd name="connsiteX10" fmla="*/ 1655532 w 2487142"/>
                  <a:gd name="connsiteY10" fmla="*/ 1220404 h 2322329"/>
                  <a:gd name="connsiteX11" fmla="*/ 1663412 w 2487142"/>
                  <a:gd name="connsiteY11" fmla="*/ 1300193 h 2322329"/>
                  <a:gd name="connsiteX12" fmla="*/ 1580340 w 2487142"/>
                  <a:gd name="connsiteY12" fmla="*/ 1547111 h 2322329"/>
                  <a:gd name="connsiteX13" fmla="*/ 1864033 w 2487142"/>
                  <a:gd name="connsiteY13" fmla="*/ 1833760 h 2322329"/>
                  <a:gd name="connsiteX14" fmla="*/ 2185031 w 2487142"/>
                  <a:gd name="connsiteY14" fmla="*/ 1875105 h 2322329"/>
                  <a:gd name="connsiteX15" fmla="*/ 2182647 w 2487142"/>
                  <a:gd name="connsiteY15" fmla="*/ 2246580 h 2322329"/>
                  <a:gd name="connsiteX16" fmla="*/ 1811169 w 2487142"/>
                  <a:gd name="connsiteY16" fmla="*/ 2244196 h 2322329"/>
                  <a:gd name="connsiteX17" fmla="*/ 1771768 w 2487142"/>
                  <a:gd name="connsiteY17" fmla="*/ 1922414 h 2322329"/>
                  <a:gd name="connsiteX18" fmla="*/ 1486761 w 2487142"/>
                  <a:gd name="connsiteY18" fmla="*/ 1637407 h 2322329"/>
                  <a:gd name="connsiteX19" fmla="*/ 1019192 w 2487142"/>
                  <a:gd name="connsiteY19" fmla="*/ 1637407 h 2322329"/>
                  <a:gd name="connsiteX20" fmla="*/ 734185 w 2487142"/>
                  <a:gd name="connsiteY20" fmla="*/ 1922414 h 2322329"/>
                  <a:gd name="connsiteX21" fmla="*/ 734185 w 2487142"/>
                  <a:gd name="connsiteY21" fmla="*/ 2190406 h 2322329"/>
                  <a:gd name="connsiteX22" fmla="*/ 374256 w 2487142"/>
                  <a:gd name="connsiteY22" fmla="*/ 2282343 h 2322329"/>
                  <a:gd name="connsiteX23" fmla="*/ 282318 w 2487142"/>
                  <a:gd name="connsiteY23" fmla="*/ 1922414 h 2322329"/>
                  <a:gd name="connsiteX24" fmla="*/ 642247 w 2487142"/>
                  <a:gd name="connsiteY24" fmla="*/ 1830476 h 2322329"/>
                  <a:gd name="connsiteX25" fmla="*/ 924299 w 2487142"/>
                  <a:gd name="connsiteY25" fmla="*/ 1544813 h 2322329"/>
                  <a:gd name="connsiteX26" fmla="*/ 850749 w 2487142"/>
                  <a:gd name="connsiteY26" fmla="*/ 1216464 h 2322329"/>
                  <a:gd name="connsiteX27" fmla="*/ 487923 w 2487142"/>
                  <a:gd name="connsiteY27" fmla="*/ 1068707 h 2322329"/>
                  <a:gd name="connsiteX28" fmla="*/ 223951 w 2487142"/>
                  <a:gd name="connsiteY28" fmla="*/ 1166473 h 2322329"/>
                  <a:gd name="connsiteX29" fmla="*/ 4696 w 2487142"/>
                  <a:gd name="connsiteY29" fmla="*/ 846683 h 2322329"/>
                  <a:gd name="connsiteX30" fmla="*/ 324488 w 2487142"/>
                  <a:gd name="connsiteY30" fmla="*/ 627425 h 2322329"/>
                  <a:gd name="connsiteX31" fmla="*/ 543743 w 2487142"/>
                  <a:gd name="connsiteY31" fmla="*/ 947217 h 2322329"/>
                  <a:gd name="connsiteX32" fmla="*/ 897703 w 2487142"/>
                  <a:gd name="connsiteY32" fmla="*/ 1095303 h 2322329"/>
                  <a:gd name="connsiteX33" fmla="*/ 1187306 w 2487142"/>
                  <a:gd name="connsiteY33" fmla="*/ 895338 h 2322329"/>
                  <a:gd name="connsiteX34" fmla="*/ 1187306 w 2487142"/>
                  <a:gd name="connsiteY34" fmla="*/ 517080 h 2322329"/>
                  <a:gd name="connsiteX35" fmla="*/ 998637 w 2487142"/>
                  <a:gd name="connsiteY35" fmla="*/ 328411 h 2322329"/>
                  <a:gd name="connsiteX36" fmla="*/ 1187306 w 2487142"/>
                  <a:gd name="connsiteY36" fmla="*/ 8405 h 2322329"/>
                  <a:gd name="connsiteX37" fmla="*/ 1239899 w 2487142"/>
                  <a:gd name="connsiteY37" fmla="*/ 337 h 2322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487142" h="2322329">
                    <a:moveTo>
                      <a:pt x="1239899" y="337"/>
                    </a:moveTo>
                    <a:cubicBezTo>
                      <a:pt x="1361920" y="-5871"/>
                      <a:pt x="1475580" y="74165"/>
                      <a:pt x="1507315" y="197071"/>
                    </a:cubicBezTo>
                    <a:cubicBezTo>
                      <a:pt x="1543581" y="337539"/>
                      <a:pt x="1459114" y="480810"/>
                      <a:pt x="1318646" y="517080"/>
                    </a:cubicBezTo>
                    <a:lnTo>
                      <a:pt x="1318646" y="895666"/>
                    </a:lnTo>
                    <a:cubicBezTo>
                      <a:pt x="1441383" y="915420"/>
                      <a:pt x="1548517" y="989820"/>
                      <a:pt x="1609891" y="1097930"/>
                    </a:cubicBezTo>
                    <a:lnTo>
                      <a:pt x="1962538" y="950500"/>
                    </a:lnTo>
                    <a:cubicBezTo>
                      <a:pt x="1947014" y="832754"/>
                      <a:pt x="2011928" y="719113"/>
                      <a:pt x="2121236" y="672671"/>
                    </a:cubicBezTo>
                    <a:cubicBezTo>
                      <a:pt x="2255593" y="615591"/>
                      <a:pt x="2410787" y="678237"/>
                      <a:pt x="2467867" y="812594"/>
                    </a:cubicBezTo>
                    <a:cubicBezTo>
                      <a:pt x="2521874" y="947145"/>
                      <a:pt x="2458608" y="1100206"/>
                      <a:pt x="2325364" y="1157361"/>
                    </a:cubicBezTo>
                    <a:cubicBezTo>
                      <a:pt x="2215025" y="1202158"/>
                      <a:pt x="2088352" y="1167120"/>
                      <a:pt x="2016716" y="1071990"/>
                    </a:cubicBezTo>
                    <a:lnTo>
                      <a:pt x="1655532" y="1220404"/>
                    </a:lnTo>
                    <a:cubicBezTo>
                      <a:pt x="1660818" y="1246669"/>
                      <a:pt x="1663458" y="1273400"/>
                      <a:pt x="1663412" y="1300193"/>
                    </a:cubicBezTo>
                    <a:cubicBezTo>
                      <a:pt x="1663439" y="1389363"/>
                      <a:pt x="1634262" y="1476089"/>
                      <a:pt x="1580340" y="1547111"/>
                    </a:cubicBezTo>
                    <a:lnTo>
                      <a:pt x="1864033" y="1833760"/>
                    </a:lnTo>
                    <a:cubicBezTo>
                      <a:pt x="1967825" y="1772158"/>
                      <a:pt x="2100238" y="1789213"/>
                      <a:pt x="2185031" y="1875105"/>
                    </a:cubicBezTo>
                    <a:cubicBezTo>
                      <a:pt x="2286954" y="1978345"/>
                      <a:pt x="2285886" y="2144660"/>
                      <a:pt x="2182647" y="2246580"/>
                    </a:cubicBezTo>
                    <a:cubicBezTo>
                      <a:pt x="2079407" y="2348503"/>
                      <a:pt x="1913092" y="2347435"/>
                      <a:pt x="1811169" y="2244196"/>
                    </a:cubicBezTo>
                    <a:cubicBezTo>
                      <a:pt x="1727591" y="2157798"/>
                      <a:pt x="1711506" y="2026425"/>
                      <a:pt x="1771768" y="1922414"/>
                    </a:cubicBezTo>
                    <a:lnTo>
                      <a:pt x="1486761" y="1637407"/>
                    </a:lnTo>
                    <a:cubicBezTo>
                      <a:pt x="1346198" y="1735052"/>
                      <a:pt x="1159755" y="1735052"/>
                      <a:pt x="1019192" y="1637407"/>
                    </a:cubicBezTo>
                    <a:lnTo>
                      <a:pt x="734185" y="1922414"/>
                    </a:lnTo>
                    <a:cubicBezTo>
                      <a:pt x="783181" y="2005027"/>
                      <a:pt x="783181" y="2107793"/>
                      <a:pt x="734185" y="2190406"/>
                    </a:cubicBezTo>
                    <a:cubicBezTo>
                      <a:pt x="660182" y="2315185"/>
                      <a:pt x="499038" y="2356347"/>
                      <a:pt x="374256" y="2282343"/>
                    </a:cubicBezTo>
                    <a:cubicBezTo>
                      <a:pt x="249476" y="2208337"/>
                      <a:pt x="208315" y="2047193"/>
                      <a:pt x="282318" y="1922414"/>
                    </a:cubicBezTo>
                    <a:cubicBezTo>
                      <a:pt x="356324" y="1797635"/>
                      <a:pt x="517468" y="1756473"/>
                      <a:pt x="642247" y="1830476"/>
                    </a:cubicBezTo>
                    <a:lnTo>
                      <a:pt x="924299" y="1544813"/>
                    </a:lnTo>
                    <a:cubicBezTo>
                      <a:pt x="853747" y="1451013"/>
                      <a:pt x="826953" y="1331396"/>
                      <a:pt x="850749" y="1216464"/>
                    </a:cubicBezTo>
                    <a:lnTo>
                      <a:pt x="487923" y="1068707"/>
                    </a:lnTo>
                    <a:cubicBezTo>
                      <a:pt x="424654" y="1147425"/>
                      <a:pt x="323233" y="1184992"/>
                      <a:pt x="223951" y="1166473"/>
                    </a:cubicBezTo>
                    <a:cubicBezTo>
                      <a:pt x="75097" y="1138711"/>
                      <a:pt x="-23067" y="995537"/>
                      <a:pt x="4696" y="846683"/>
                    </a:cubicBezTo>
                    <a:cubicBezTo>
                      <a:pt x="32458" y="697829"/>
                      <a:pt x="175631" y="599663"/>
                      <a:pt x="324488" y="627425"/>
                    </a:cubicBezTo>
                    <a:cubicBezTo>
                      <a:pt x="473341" y="655187"/>
                      <a:pt x="571505" y="798363"/>
                      <a:pt x="543743" y="947217"/>
                    </a:cubicBezTo>
                    <a:lnTo>
                      <a:pt x="897703" y="1095303"/>
                    </a:lnTo>
                    <a:cubicBezTo>
                      <a:pt x="959242" y="988477"/>
                      <a:pt x="1065607" y="915035"/>
                      <a:pt x="1187306" y="895338"/>
                    </a:cubicBezTo>
                    <a:lnTo>
                      <a:pt x="1187306" y="517080"/>
                    </a:lnTo>
                    <a:cubicBezTo>
                      <a:pt x="1094781" y="493189"/>
                      <a:pt x="1022528" y="420936"/>
                      <a:pt x="998637" y="328411"/>
                    </a:cubicBezTo>
                    <a:cubicBezTo>
                      <a:pt x="962371" y="187946"/>
                      <a:pt x="1046839" y="44671"/>
                      <a:pt x="1187306" y="8405"/>
                    </a:cubicBezTo>
                    <a:cubicBezTo>
                      <a:pt x="1204865" y="3871"/>
                      <a:pt x="1222467" y="1224"/>
                      <a:pt x="1239899" y="337"/>
                    </a:cubicBezTo>
                    <a:close/>
                  </a:path>
                </a:pathLst>
              </a:custGeom>
              <a:gradFill>
                <a:gsLst>
                  <a:gs pos="0">
                    <a:srgbClr val="00B0F0"/>
                  </a:gs>
                  <a:gs pos="88000">
                    <a:srgbClr val="2D2B8D"/>
                  </a:gs>
                </a:gsLst>
                <a:lin ang="2400000" scaled="0"/>
              </a:gradFill>
              <a:ln w="32742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9" name="Рисунок 18"/>
              <p:cNvPicPr>
                <a:picLocks noChangeAspect="1"/>
              </p:cNvPicPr>
              <p:nvPr/>
            </p:nvPicPr>
            <p:blipFill>
              <a:blip r:embed="rId1"/>
              <a:stretch>
                <a:fillRect/>
              </a:stretch>
            </p:blipFill>
            <p:spPr>
              <a:xfrm>
                <a:off x="5266666" y="1489057"/>
                <a:ext cx="1971675" cy="1752600"/>
              </a:xfrm>
              <a:prstGeom prst="rect">
                <a:avLst/>
              </a:prstGeom>
            </p:spPr>
          </p:pic>
        </p:grpSp>
        <p:sp>
          <p:nvSpPr>
            <p:cNvPr id="14" name="TextBox 13"/>
            <p:cNvSpPr txBox="1"/>
            <p:nvPr/>
          </p:nvSpPr>
          <p:spPr>
            <a:xfrm>
              <a:off x="3281123" y="3133161"/>
              <a:ext cx="1213532" cy="4810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Open Sans" panose="020B0606030504020204" pitchFamily="34" charset="0"/>
                  <a:cs typeface="Arial" panose="020B0604020202020204" pitchFamily="34" charset="0"/>
                </a:rPr>
                <a:t>ГИА</a:t>
              </a:r>
              <a:endPara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850600" y="5396710"/>
              <a:ext cx="1213532" cy="4810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Open Sans" panose="020B0606030504020204" pitchFamily="34" charset="0"/>
                  <a:cs typeface="Arial" panose="020B0604020202020204" pitchFamily="34" charset="0"/>
                </a:rPr>
                <a:t>ВПР </a:t>
              </a:r>
              <a:endPara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538183" y="3195969"/>
              <a:ext cx="1419838" cy="4810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Open Sans" panose="020B0606030504020204" pitchFamily="34" charset="0"/>
                  <a:cs typeface="Arial" panose="020B0604020202020204" pitchFamily="34" charset="0"/>
                </a:rPr>
                <a:t>НИКО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7121445" y="5405249"/>
              <a:ext cx="1213532" cy="4810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Open Sans" panose="020B0606030504020204" pitchFamily="34" charset="0"/>
                  <a:cs typeface="Arial" panose="020B0604020202020204" pitchFamily="34" charset="0"/>
                </a:rPr>
                <a:t>МИ</a:t>
              </a:r>
              <a:endPara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0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42" y="44624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1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2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517682" y="155643"/>
            <a:ext cx="6328509" cy="1076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Естественнонаучная грамотность в ВПР</a:t>
            </a:r>
            <a:endParaRPr kumimoji="0" lang="ru-RU" sz="3200" b="1" i="0" u="none" strike="noStrike" kern="1200" cap="none" spc="-40" normalizeH="0" baseline="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7554" y="1274490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8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42" y="44624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1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2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3" name="Изображение 22"/>
          <p:cNvPicPr>
            <a:picLocks noChangeAspect="1"/>
          </p:cNvPicPr>
          <p:nvPr/>
        </p:nvPicPr>
        <p:blipFill>
          <a:blip r:embed="rId4"/>
          <a:srcRect l="6635" t="25380" r="39615" b="14148"/>
          <a:stretch>
            <a:fillRect/>
          </a:stretch>
        </p:blipFill>
        <p:spPr>
          <a:xfrm>
            <a:off x="173990" y="1393825"/>
            <a:ext cx="4168775" cy="2638425"/>
          </a:xfrm>
          <a:prstGeom prst="rect">
            <a:avLst/>
          </a:prstGeom>
          <a:ln w="3175">
            <a:solidFill>
              <a:srgbClr val="002060"/>
            </a:solidFill>
          </a:ln>
        </p:spPr>
      </p:pic>
      <p:pic>
        <p:nvPicPr>
          <p:cNvPr id="24" name="Изображение 23"/>
          <p:cNvPicPr>
            <a:picLocks noChangeAspect="1"/>
          </p:cNvPicPr>
          <p:nvPr/>
        </p:nvPicPr>
        <p:blipFill>
          <a:blip r:embed="rId5"/>
          <a:srcRect l="16615" t="25667" r="10688" b="19176"/>
          <a:stretch>
            <a:fillRect/>
          </a:stretch>
        </p:blipFill>
        <p:spPr>
          <a:xfrm>
            <a:off x="2979420" y="4118610"/>
            <a:ext cx="5866765" cy="2503805"/>
          </a:xfrm>
          <a:prstGeom prst="rect">
            <a:avLst/>
          </a:prstGeom>
          <a:ln>
            <a:solidFill>
              <a:schemeClr val="accent4">
                <a:lumMod val="95000"/>
                <a:lumOff val="5000"/>
              </a:schemeClr>
            </a:solidFill>
          </a:ln>
        </p:spPr>
      </p:pic>
      <p:sp>
        <p:nvSpPr>
          <p:cNvPr id="25" name="object 7"/>
          <p:cNvSpPr txBox="1"/>
          <p:nvPr/>
        </p:nvSpPr>
        <p:spPr>
          <a:xfrm>
            <a:off x="4872037" y="1722437"/>
            <a:ext cx="34544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90" dirty="0">
                <a:latin typeface="Arial" panose="020B0604020202020204"/>
                <a:cs typeface="Arial" panose="020B0604020202020204"/>
              </a:rPr>
              <a:t>ВПР. </a:t>
            </a:r>
            <a:r>
              <a:rPr sz="1800" dirty="0">
                <a:latin typeface="Arial" panose="020B0604020202020204"/>
                <a:cs typeface="Arial" panose="020B0604020202020204"/>
              </a:rPr>
              <a:t>8 класс. </a:t>
            </a:r>
            <a:r>
              <a:rPr sz="1800" spc="-5" dirty="0">
                <a:latin typeface="Arial" panose="020B0604020202020204"/>
                <a:cs typeface="Arial" panose="020B0604020202020204"/>
              </a:rPr>
              <a:t>Химия.</a:t>
            </a:r>
            <a:r>
              <a:rPr sz="1800" spc="20" dirty="0">
                <a:latin typeface="Arial" panose="020B0604020202020204"/>
                <a:cs typeface="Arial" panose="020B0604020202020204"/>
              </a:rPr>
              <a:t> </a:t>
            </a:r>
            <a:r>
              <a:rPr sz="1800" spc="-5" dirty="0">
                <a:latin typeface="Arial" panose="020B0604020202020204"/>
                <a:cs typeface="Arial" panose="020B0604020202020204"/>
              </a:rPr>
              <a:t>Демо-2020</a:t>
            </a:r>
            <a:endParaRPr sz="1800">
              <a:latin typeface="Arial" panose="020B0604020202020204"/>
              <a:cs typeface="Arial" panose="020B060402020202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517682" y="155643"/>
            <a:ext cx="6328509" cy="1076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Естественнонаучная грамотность в ВПР</a:t>
            </a:r>
            <a:endParaRPr kumimoji="0" lang="ru-RU" sz="3200" b="1" i="0" u="none" strike="noStrike" kern="1200" cap="none" spc="-40" normalizeH="0" baseline="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7554" y="1274490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8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42" y="44624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1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2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grpSp>
        <p:nvGrpSpPr>
          <p:cNvPr id="5" name="object 5"/>
          <p:cNvGrpSpPr/>
          <p:nvPr/>
        </p:nvGrpSpPr>
        <p:grpSpPr>
          <a:xfrm>
            <a:off x="186055" y="1443990"/>
            <a:ext cx="4304030" cy="5130800"/>
            <a:chOff x="89535" y="897255"/>
            <a:chExt cx="5139690" cy="5699125"/>
          </a:xfrm>
        </p:grpSpPr>
        <p:sp>
          <p:nvSpPr>
            <p:cNvPr id="6" name="object 6"/>
            <p:cNvSpPr/>
            <p:nvPr/>
          </p:nvSpPr>
          <p:spPr>
            <a:xfrm>
              <a:off x="99060" y="906780"/>
              <a:ext cx="5120640" cy="5679948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p/>
          </p:txBody>
        </p:sp>
        <p:sp>
          <p:nvSpPr>
            <p:cNvPr id="7" name="object 7"/>
            <p:cNvSpPr/>
            <p:nvPr/>
          </p:nvSpPr>
          <p:spPr>
            <a:xfrm>
              <a:off x="89535" y="897255"/>
              <a:ext cx="5139690" cy="5699125"/>
            </a:xfrm>
            <a:custGeom>
              <a:avLst/>
              <a:gdLst/>
              <a:ahLst/>
              <a:cxnLst/>
              <a:rect l="l" t="t" r="r" b="b"/>
              <a:pathLst>
                <a:path w="5139690" h="5699125">
                  <a:moveTo>
                    <a:pt x="5139690" y="5698998"/>
                  </a:moveTo>
                  <a:lnTo>
                    <a:pt x="0" y="5698998"/>
                  </a:lnTo>
                  <a:lnTo>
                    <a:pt x="0" y="0"/>
                  </a:lnTo>
                  <a:lnTo>
                    <a:pt x="5139690" y="0"/>
                  </a:lnTo>
                  <a:lnTo>
                    <a:pt x="5139690" y="4762"/>
                  </a:lnTo>
                  <a:lnTo>
                    <a:pt x="9525" y="4762"/>
                  </a:lnTo>
                  <a:lnTo>
                    <a:pt x="4762" y="9525"/>
                  </a:lnTo>
                  <a:lnTo>
                    <a:pt x="9525" y="9525"/>
                  </a:lnTo>
                  <a:lnTo>
                    <a:pt x="9525" y="5689473"/>
                  </a:lnTo>
                  <a:lnTo>
                    <a:pt x="4762" y="5689473"/>
                  </a:lnTo>
                  <a:lnTo>
                    <a:pt x="9525" y="5694235"/>
                  </a:lnTo>
                  <a:lnTo>
                    <a:pt x="5139690" y="5694235"/>
                  </a:lnTo>
                  <a:lnTo>
                    <a:pt x="5139690" y="5698998"/>
                  </a:lnTo>
                  <a:close/>
                </a:path>
                <a:path w="5139690" h="5699125">
                  <a:moveTo>
                    <a:pt x="9525" y="9525"/>
                  </a:moveTo>
                  <a:lnTo>
                    <a:pt x="4762" y="9525"/>
                  </a:lnTo>
                  <a:lnTo>
                    <a:pt x="9525" y="4762"/>
                  </a:lnTo>
                  <a:lnTo>
                    <a:pt x="9525" y="9525"/>
                  </a:lnTo>
                  <a:close/>
                </a:path>
                <a:path w="5139690" h="5699125">
                  <a:moveTo>
                    <a:pt x="5130165" y="9525"/>
                  </a:moveTo>
                  <a:lnTo>
                    <a:pt x="9525" y="9525"/>
                  </a:lnTo>
                  <a:lnTo>
                    <a:pt x="9525" y="4762"/>
                  </a:lnTo>
                  <a:lnTo>
                    <a:pt x="5130165" y="4762"/>
                  </a:lnTo>
                  <a:lnTo>
                    <a:pt x="5130165" y="9525"/>
                  </a:lnTo>
                  <a:close/>
                </a:path>
                <a:path w="5139690" h="5699125">
                  <a:moveTo>
                    <a:pt x="5130165" y="5694235"/>
                  </a:moveTo>
                  <a:lnTo>
                    <a:pt x="5130165" y="4762"/>
                  </a:lnTo>
                  <a:lnTo>
                    <a:pt x="5134927" y="9525"/>
                  </a:lnTo>
                  <a:lnTo>
                    <a:pt x="5139690" y="9525"/>
                  </a:lnTo>
                  <a:lnTo>
                    <a:pt x="5139690" y="5689473"/>
                  </a:lnTo>
                  <a:lnTo>
                    <a:pt x="5134927" y="5689473"/>
                  </a:lnTo>
                  <a:lnTo>
                    <a:pt x="5130165" y="5694235"/>
                  </a:lnTo>
                  <a:close/>
                </a:path>
                <a:path w="5139690" h="5699125">
                  <a:moveTo>
                    <a:pt x="5139690" y="9525"/>
                  </a:moveTo>
                  <a:lnTo>
                    <a:pt x="5134927" y="9525"/>
                  </a:lnTo>
                  <a:lnTo>
                    <a:pt x="5130165" y="4762"/>
                  </a:lnTo>
                  <a:lnTo>
                    <a:pt x="5139690" y="4762"/>
                  </a:lnTo>
                  <a:lnTo>
                    <a:pt x="5139690" y="9525"/>
                  </a:lnTo>
                  <a:close/>
                </a:path>
                <a:path w="5139690" h="5699125">
                  <a:moveTo>
                    <a:pt x="9525" y="5694235"/>
                  </a:moveTo>
                  <a:lnTo>
                    <a:pt x="4762" y="5689473"/>
                  </a:lnTo>
                  <a:lnTo>
                    <a:pt x="9525" y="5689473"/>
                  </a:lnTo>
                  <a:lnTo>
                    <a:pt x="9525" y="5694235"/>
                  </a:lnTo>
                  <a:close/>
                </a:path>
                <a:path w="5139690" h="5699125">
                  <a:moveTo>
                    <a:pt x="5130165" y="5694235"/>
                  </a:moveTo>
                  <a:lnTo>
                    <a:pt x="9525" y="5694235"/>
                  </a:lnTo>
                  <a:lnTo>
                    <a:pt x="9525" y="5689473"/>
                  </a:lnTo>
                  <a:lnTo>
                    <a:pt x="5130165" y="5689473"/>
                  </a:lnTo>
                  <a:lnTo>
                    <a:pt x="5130165" y="5694235"/>
                  </a:lnTo>
                  <a:close/>
                </a:path>
                <a:path w="5139690" h="5699125">
                  <a:moveTo>
                    <a:pt x="5139690" y="5694235"/>
                  </a:moveTo>
                  <a:lnTo>
                    <a:pt x="5130165" y="5694235"/>
                  </a:lnTo>
                  <a:lnTo>
                    <a:pt x="5134927" y="5689473"/>
                  </a:lnTo>
                  <a:lnTo>
                    <a:pt x="5139690" y="5689473"/>
                  </a:lnTo>
                  <a:lnTo>
                    <a:pt x="5139690" y="569423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p/>
          </p:txBody>
        </p:sp>
      </p:grpSp>
      <p:grpSp>
        <p:nvGrpSpPr>
          <p:cNvPr id="4" name="object 5"/>
          <p:cNvGrpSpPr/>
          <p:nvPr/>
        </p:nvGrpSpPr>
        <p:grpSpPr>
          <a:xfrm>
            <a:off x="4441190" y="3858895"/>
            <a:ext cx="4338320" cy="2735580"/>
            <a:chOff x="241934" y="1474850"/>
            <a:chExt cx="7148830" cy="4437380"/>
          </a:xfrm>
        </p:grpSpPr>
        <p:sp>
          <p:nvSpPr>
            <p:cNvPr id="8" name="object 6"/>
            <p:cNvSpPr/>
            <p:nvPr/>
          </p:nvSpPr>
          <p:spPr>
            <a:xfrm>
              <a:off x="322134" y="1484375"/>
              <a:ext cx="7005591" cy="4382731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p/>
          </p:txBody>
        </p:sp>
        <p:sp>
          <p:nvSpPr>
            <p:cNvPr id="9" name="object 7"/>
            <p:cNvSpPr/>
            <p:nvPr/>
          </p:nvSpPr>
          <p:spPr>
            <a:xfrm>
              <a:off x="241934" y="1474850"/>
              <a:ext cx="7148830" cy="4437380"/>
            </a:xfrm>
            <a:custGeom>
              <a:avLst/>
              <a:gdLst/>
              <a:ahLst/>
              <a:cxnLst/>
              <a:rect l="l" t="t" r="r" b="b"/>
              <a:pathLst>
                <a:path w="7148830" h="4437380">
                  <a:moveTo>
                    <a:pt x="7148322" y="4437126"/>
                  </a:moveTo>
                  <a:lnTo>
                    <a:pt x="0" y="4437126"/>
                  </a:lnTo>
                  <a:lnTo>
                    <a:pt x="0" y="0"/>
                  </a:lnTo>
                  <a:lnTo>
                    <a:pt x="7148322" y="0"/>
                  </a:lnTo>
                  <a:lnTo>
                    <a:pt x="7148322" y="4762"/>
                  </a:lnTo>
                  <a:lnTo>
                    <a:pt x="9525" y="4762"/>
                  </a:lnTo>
                  <a:lnTo>
                    <a:pt x="4762" y="9525"/>
                  </a:lnTo>
                  <a:lnTo>
                    <a:pt x="9525" y="9525"/>
                  </a:lnTo>
                  <a:lnTo>
                    <a:pt x="9525" y="4427600"/>
                  </a:lnTo>
                  <a:lnTo>
                    <a:pt x="4762" y="4427600"/>
                  </a:lnTo>
                  <a:lnTo>
                    <a:pt x="9525" y="4432363"/>
                  </a:lnTo>
                  <a:lnTo>
                    <a:pt x="7148322" y="4432363"/>
                  </a:lnTo>
                  <a:lnTo>
                    <a:pt x="7148322" y="4437126"/>
                  </a:lnTo>
                  <a:close/>
                </a:path>
                <a:path w="7148830" h="4437380">
                  <a:moveTo>
                    <a:pt x="9525" y="9525"/>
                  </a:moveTo>
                  <a:lnTo>
                    <a:pt x="4762" y="9525"/>
                  </a:lnTo>
                  <a:lnTo>
                    <a:pt x="9525" y="4762"/>
                  </a:lnTo>
                  <a:lnTo>
                    <a:pt x="9525" y="9525"/>
                  </a:lnTo>
                  <a:close/>
                </a:path>
                <a:path w="7148830" h="4437380">
                  <a:moveTo>
                    <a:pt x="7138797" y="9525"/>
                  </a:moveTo>
                  <a:lnTo>
                    <a:pt x="9525" y="9525"/>
                  </a:lnTo>
                  <a:lnTo>
                    <a:pt x="9525" y="4762"/>
                  </a:lnTo>
                  <a:lnTo>
                    <a:pt x="7138797" y="4762"/>
                  </a:lnTo>
                  <a:lnTo>
                    <a:pt x="7138797" y="9525"/>
                  </a:lnTo>
                  <a:close/>
                </a:path>
                <a:path w="7148830" h="4437380">
                  <a:moveTo>
                    <a:pt x="7138797" y="4432363"/>
                  </a:moveTo>
                  <a:lnTo>
                    <a:pt x="7138797" y="4762"/>
                  </a:lnTo>
                  <a:lnTo>
                    <a:pt x="7143559" y="9525"/>
                  </a:lnTo>
                  <a:lnTo>
                    <a:pt x="7148322" y="9525"/>
                  </a:lnTo>
                  <a:lnTo>
                    <a:pt x="7148322" y="4427600"/>
                  </a:lnTo>
                  <a:lnTo>
                    <a:pt x="7143559" y="4427600"/>
                  </a:lnTo>
                  <a:lnTo>
                    <a:pt x="7138797" y="4432363"/>
                  </a:lnTo>
                  <a:close/>
                </a:path>
                <a:path w="7148830" h="4437380">
                  <a:moveTo>
                    <a:pt x="7148322" y="9525"/>
                  </a:moveTo>
                  <a:lnTo>
                    <a:pt x="7143559" y="9525"/>
                  </a:lnTo>
                  <a:lnTo>
                    <a:pt x="7138797" y="4762"/>
                  </a:lnTo>
                  <a:lnTo>
                    <a:pt x="7148322" y="4762"/>
                  </a:lnTo>
                  <a:lnTo>
                    <a:pt x="7148322" y="9525"/>
                  </a:lnTo>
                  <a:close/>
                </a:path>
                <a:path w="7148830" h="4437380">
                  <a:moveTo>
                    <a:pt x="9525" y="4432363"/>
                  </a:moveTo>
                  <a:lnTo>
                    <a:pt x="4762" y="4427600"/>
                  </a:lnTo>
                  <a:lnTo>
                    <a:pt x="9525" y="4427600"/>
                  </a:lnTo>
                  <a:lnTo>
                    <a:pt x="9525" y="4432363"/>
                  </a:lnTo>
                  <a:close/>
                </a:path>
                <a:path w="7148830" h="4437380">
                  <a:moveTo>
                    <a:pt x="7138797" y="4432363"/>
                  </a:moveTo>
                  <a:lnTo>
                    <a:pt x="9525" y="4432363"/>
                  </a:lnTo>
                  <a:lnTo>
                    <a:pt x="9525" y="4427600"/>
                  </a:lnTo>
                  <a:lnTo>
                    <a:pt x="7138797" y="4427600"/>
                  </a:lnTo>
                  <a:lnTo>
                    <a:pt x="7138797" y="4432363"/>
                  </a:lnTo>
                  <a:close/>
                </a:path>
                <a:path w="7148830" h="4437380">
                  <a:moveTo>
                    <a:pt x="7148322" y="4432363"/>
                  </a:moveTo>
                  <a:lnTo>
                    <a:pt x="7138797" y="4432363"/>
                  </a:lnTo>
                  <a:lnTo>
                    <a:pt x="7143559" y="4427600"/>
                  </a:lnTo>
                  <a:lnTo>
                    <a:pt x="7148322" y="4427600"/>
                  </a:lnTo>
                  <a:lnTo>
                    <a:pt x="7148322" y="4432363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p/>
          </p:txBody>
        </p:sp>
      </p:grpSp>
      <p:sp>
        <p:nvSpPr>
          <p:cNvPr id="11" name="object 4"/>
          <p:cNvSpPr txBox="1"/>
          <p:nvPr/>
        </p:nvSpPr>
        <p:spPr>
          <a:xfrm>
            <a:off x="4957762" y="1997075"/>
            <a:ext cx="3564254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90" dirty="0">
                <a:latin typeface="Arial" panose="020B0604020202020204"/>
                <a:cs typeface="Arial" panose="020B0604020202020204"/>
              </a:rPr>
              <a:t>ВПР. </a:t>
            </a:r>
            <a:r>
              <a:rPr sz="1800" spc="-70" dirty="0">
                <a:latin typeface="Arial" panose="020B0604020202020204"/>
                <a:cs typeface="Arial" panose="020B0604020202020204"/>
              </a:rPr>
              <a:t>11 </a:t>
            </a:r>
            <a:r>
              <a:rPr sz="1800" dirty="0">
                <a:latin typeface="Arial" panose="020B0604020202020204"/>
                <a:cs typeface="Arial" panose="020B0604020202020204"/>
              </a:rPr>
              <a:t>класс. </a:t>
            </a:r>
            <a:r>
              <a:rPr sz="1800" spc="-5" dirty="0">
                <a:latin typeface="Arial" panose="020B0604020202020204"/>
                <a:cs typeface="Arial" panose="020B0604020202020204"/>
              </a:rPr>
              <a:t>Химия.</a:t>
            </a:r>
            <a:r>
              <a:rPr sz="1800" spc="90" dirty="0">
                <a:latin typeface="Arial" panose="020B0604020202020204"/>
                <a:cs typeface="Arial" panose="020B0604020202020204"/>
              </a:rPr>
              <a:t> </a:t>
            </a:r>
            <a:r>
              <a:rPr sz="1800" spc="-5" dirty="0">
                <a:latin typeface="Arial" panose="020B0604020202020204"/>
                <a:cs typeface="Arial" panose="020B0604020202020204"/>
              </a:rPr>
              <a:t>Демо-2020</a:t>
            </a:r>
            <a:endParaRPr sz="1800">
              <a:latin typeface="Arial" panose="020B0604020202020204"/>
              <a:cs typeface="Arial" panose="020B060402020202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517682" y="155643"/>
            <a:ext cx="6328509" cy="1076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Естественнонаучная грамотность в ГИА</a:t>
            </a:r>
            <a:endParaRPr kumimoji="0" lang="ru-RU" sz="3200" b="1" i="0" u="none" strike="noStrike" kern="1200" cap="none" spc="-40" normalizeH="0" baseline="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7554" y="1274490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8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42" y="44624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1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2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grpSp>
        <p:nvGrpSpPr>
          <p:cNvPr id="2" name="object 5"/>
          <p:cNvGrpSpPr/>
          <p:nvPr/>
        </p:nvGrpSpPr>
        <p:grpSpPr>
          <a:xfrm>
            <a:off x="107950" y="1456055"/>
            <a:ext cx="6076950" cy="2617470"/>
            <a:chOff x="98678" y="1619630"/>
            <a:chExt cx="8520430" cy="3378200"/>
          </a:xfrm>
        </p:grpSpPr>
        <p:sp>
          <p:nvSpPr>
            <p:cNvPr id="11" name="object 6"/>
            <p:cNvSpPr/>
            <p:nvPr/>
          </p:nvSpPr>
          <p:spPr>
            <a:xfrm>
              <a:off x="380595" y="1719936"/>
              <a:ext cx="8092285" cy="3086553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p/>
          </p:txBody>
        </p:sp>
        <p:sp>
          <p:nvSpPr>
            <p:cNvPr id="12" name="object 7"/>
            <p:cNvSpPr/>
            <p:nvPr/>
          </p:nvSpPr>
          <p:spPr>
            <a:xfrm>
              <a:off x="98678" y="1619630"/>
              <a:ext cx="8520430" cy="3378200"/>
            </a:xfrm>
            <a:custGeom>
              <a:avLst/>
              <a:gdLst/>
              <a:ahLst/>
              <a:cxnLst/>
              <a:rect l="l" t="t" r="r" b="b"/>
              <a:pathLst>
                <a:path w="8520430" h="3378200">
                  <a:moveTo>
                    <a:pt x="8515159" y="3377946"/>
                  </a:moveTo>
                  <a:lnTo>
                    <a:pt x="4762" y="3377946"/>
                  </a:lnTo>
                  <a:lnTo>
                    <a:pt x="3289" y="3377717"/>
                  </a:lnTo>
                  <a:lnTo>
                    <a:pt x="1968" y="3377031"/>
                  </a:lnTo>
                  <a:lnTo>
                    <a:pt x="914" y="3375977"/>
                  </a:lnTo>
                  <a:lnTo>
                    <a:pt x="228" y="3374656"/>
                  </a:lnTo>
                  <a:lnTo>
                    <a:pt x="0" y="3373183"/>
                  </a:lnTo>
                  <a:lnTo>
                    <a:pt x="0" y="4762"/>
                  </a:lnTo>
                  <a:lnTo>
                    <a:pt x="4762" y="0"/>
                  </a:lnTo>
                  <a:lnTo>
                    <a:pt x="8515159" y="0"/>
                  </a:lnTo>
                  <a:lnTo>
                    <a:pt x="8519922" y="4762"/>
                  </a:lnTo>
                  <a:lnTo>
                    <a:pt x="9525" y="4762"/>
                  </a:lnTo>
                  <a:lnTo>
                    <a:pt x="4762" y="9525"/>
                  </a:lnTo>
                  <a:lnTo>
                    <a:pt x="9525" y="9525"/>
                  </a:lnTo>
                  <a:lnTo>
                    <a:pt x="9525" y="3368421"/>
                  </a:lnTo>
                  <a:lnTo>
                    <a:pt x="4762" y="3368421"/>
                  </a:lnTo>
                  <a:lnTo>
                    <a:pt x="9525" y="3373183"/>
                  </a:lnTo>
                  <a:lnTo>
                    <a:pt x="8519922" y="3373183"/>
                  </a:lnTo>
                  <a:lnTo>
                    <a:pt x="8519693" y="3374656"/>
                  </a:lnTo>
                  <a:lnTo>
                    <a:pt x="8519007" y="3375977"/>
                  </a:lnTo>
                  <a:lnTo>
                    <a:pt x="8517953" y="3377031"/>
                  </a:lnTo>
                  <a:lnTo>
                    <a:pt x="8516632" y="3377717"/>
                  </a:lnTo>
                  <a:lnTo>
                    <a:pt x="8515159" y="3377946"/>
                  </a:lnTo>
                  <a:close/>
                </a:path>
                <a:path w="8520430" h="3378200">
                  <a:moveTo>
                    <a:pt x="9525" y="9525"/>
                  </a:moveTo>
                  <a:lnTo>
                    <a:pt x="4762" y="9525"/>
                  </a:lnTo>
                  <a:lnTo>
                    <a:pt x="9525" y="4762"/>
                  </a:lnTo>
                  <a:lnTo>
                    <a:pt x="9525" y="9525"/>
                  </a:lnTo>
                  <a:close/>
                </a:path>
                <a:path w="8520430" h="3378200">
                  <a:moveTo>
                    <a:pt x="8510397" y="9525"/>
                  </a:moveTo>
                  <a:lnTo>
                    <a:pt x="9525" y="9525"/>
                  </a:lnTo>
                  <a:lnTo>
                    <a:pt x="9525" y="4762"/>
                  </a:lnTo>
                  <a:lnTo>
                    <a:pt x="8510397" y="4762"/>
                  </a:lnTo>
                  <a:lnTo>
                    <a:pt x="8510397" y="9525"/>
                  </a:lnTo>
                  <a:close/>
                </a:path>
                <a:path w="8520430" h="3378200">
                  <a:moveTo>
                    <a:pt x="8510397" y="3373183"/>
                  </a:moveTo>
                  <a:lnTo>
                    <a:pt x="8510397" y="4762"/>
                  </a:lnTo>
                  <a:lnTo>
                    <a:pt x="8515159" y="9525"/>
                  </a:lnTo>
                  <a:lnTo>
                    <a:pt x="8519922" y="9525"/>
                  </a:lnTo>
                  <a:lnTo>
                    <a:pt x="8519922" y="3368421"/>
                  </a:lnTo>
                  <a:lnTo>
                    <a:pt x="8515159" y="3368421"/>
                  </a:lnTo>
                  <a:lnTo>
                    <a:pt x="8510397" y="3373183"/>
                  </a:lnTo>
                  <a:close/>
                </a:path>
                <a:path w="8520430" h="3378200">
                  <a:moveTo>
                    <a:pt x="8519922" y="9525"/>
                  </a:moveTo>
                  <a:lnTo>
                    <a:pt x="8515159" y="9525"/>
                  </a:lnTo>
                  <a:lnTo>
                    <a:pt x="8510397" y="4762"/>
                  </a:lnTo>
                  <a:lnTo>
                    <a:pt x="8519922" y="4762"/>
                  </a:lnTo>
                  <a:lnTo>
                    <a:pt x="8519922" y="9525"/>
                  </a:lnTo>
                  <a:close/>
                </a:path>
                <a:path w="8520430" h="3378200">
                  <a:moveTo>
                    <a:pt x="9525" y="3373183"/>
                  </a:moveTo>
                  <a:lnTo>
                    <a:pt x="4762" y="3368421"/>
                  </a:lnTo>
                  <a:lnTo>
                    <a:pt x="9525" y="3368421"/>
                  </a:lnTo>
                  <a:lnTo>
                    <a:pt x="9525" y="3373183"/>
                  </a:lnTo>
                  <a:close/>
                </a:path>
                <a:path w="8520430" h="3378200">
                  <a:moveTo>
                    <a:pt x="8510397" y="3373183"/>
                  </a:moveTo>
                  <a:lnTo>
                    <a:pt x="9525" y="3373183"/>
                  </a:lnTo>
                  <a:lnTo>
                    <a:pt x="9525" y="3368421"/>
                  </a:lnTo>
                  <a:lnTo>
                    <a:pt x="8510397" y="3368421"/>
                  </a:lnTo>
                  <a:lnTo>
                    <a:pt x="8510397" y="3373183"/>
                  </a:lnTo>
                  <a:close/>
                </a:path>
                <a:path w="8520430" h="3378200">
                  <a:moveTo>
                    <a:pt x="8519922" y="3373183"/>
                  </a:moveTo>
                  <a:lnTo>
                    <a:pt x="8510397" y="3373183"/>
                  </a:lnTo>
                  <a:lnTo>
                    <a:pt x="8515159" y="3368421"/>
                  </a:lnTo>
                  <a:lnTo>
                    <a:pt x="8519922" y="3368421"/>
                  </a:lnTo>
                  <a:lnTo>
                    <a:pt x="8519922" y="3373183"/>
                  </a:lnTo>
                  <a:close/>
                </a:path>
              </a:pathLst>
            </a:custGeom>
            <a:solidFill>
              <a:srgbClr val="4F81BC"/>
            </a:solidFill>
          </p:spPr>
          <p:txBody>
            <a:bodyPr wrap="square" lIns="0" tIns="0" rIns="0" bIns="0" rtlCol="0"/>
            <a:p/>
          </p:txBody>
        </p:sp>
      </p:grpSp>
      <p:grpSp>
        <p:nvGrpSpPr>
          <p:cNvPr id="13" name="object 5"/>
          <p:cNvGrpSpPr/>
          <p:nvPr/>
        </p:nvGrpSpPr>
        <p:grpSpPr>
          <a:xfrm>
            <a:off x="2676525" y="3799840"/>
            <a:ext cx="6310630" cy="2853690"/>
            <a:chOff x="98678" y="1619630"/>
            <a:chExt cx="8733790" cy="3690620"/>
          </a:xfrm>
        </p:grpSpPr>
        <p:sp>
          <p:nvSpPr>
            <p:cNvPr id="14" name="object 6"/>
            <p:cNvSpPr/>
            <p:nvPr/>
          </p:nvSpPr>
          <p:spPr>
            <a:xfrm>
              <a:off x="193117" y="1714041"/>
              <a:ext cx="8586861" cy="3565208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p/>
          </p:txBody>
        </p:sp>
        <p:sp>
          <p:nvSpPr>
            <p:cNvPr id="15" name="object 7"/>
            <p:cNvSpPr/>
            <p:nvPr/>
          </p:nvSpPr>
          <p:spPr>
            <a:xfrm>
              <a:off x="98678" y="1619630"/>
              <a:ext cx="8733790" cy="3690620"/>
            </a:xfrm>
            <a:custGeom>
              <a:avLst/>
              <a:gdLst/>
              <a:ahLst/>
              <a:cxnLst/>
              <a:rect l="l" t="t" r="r" b="b"/>
              <a:pathLst>
                <a:path w="8733790" h="3690620">
                  <a:moveTo>
                    <a:pt x="8733282" y="3690366"/>
                  </a:moveTo>
                  <a:lnTo>
                    <a:pt x="0" y="3690366"/>
                  </a:lnTo>
                  <a:lnTo>
                    <a:pt x="0" y="0"/>
                  </a:lnTo>
                  <a:lnTo>
                    <a:pt x="8733282" y="0"/>
                  </a:lnTo>
                  <a:lnTo>
                    <a:pt x="8733282" y="4762"/>
                  </a:lnTo>
                  <a:lnTo>
                    <a:pt x="9525" y="4762"/>
                  </a:lnTo>
                  <a:lnTo>
                    <a:pt x="4762" y="9525"/>
                  </a:lnTo>
                  <a:lnTo>
                    <a:pt x="9525" y="9525"/>
                  </a:lnTo>
                  <a:lnTo>
                    <a:pt x="9525" y="3680841"/>
                  </a:lnTo>
                  <a:lnTo>
                    <a:pt x="4762" y="3680841"/>
                  </a:lnTo>
                  <a:lnTo>
                    <a:pt x="9525" y="3685603"/>
                  </a:lnTo>
                  <a:lnTo>
                    <a:pt x="8733282" y="3685603"/>
                  </a:lnTo>
                  <a:lnTo>
                    <a:pt x="8733282" y="3690366"/>
                  </a:lnTo>
                  <a:close/>
                </a:path>
                <a:path w="8733790" h="3690620">
                  <a:moveTo>
                    <a:pt x="9525" y="9525"/>
                  </a:moveTo>
                  <a:lnTo>
                    <a:pt x="4762" y="9525"/>
                  </a:lnTo>
                  <a:lnTo>
                    <a:pt x="9525" y="4762"/>
                  </a:lnTo>
                  <a:lnTo>
                    <a:pt x="9525" y="9525"/>
                  </a:lnTo>
                  <a:close/>
                </a:path>
                <a:path w="8733790" h="3690620">
                  <a:moveTo>
                    <a:pt x="8723757" y="9525"/>
                  </a:moveTo>
                  <a:lnTo>
                    <a:pt x="9525" y="9525"/>
                  </a:lnTo>
                  <a:lnTo>
                    <a:pt x="9525" y="4762"/>
                  </a:lnTo>
                  <a:lnTo>
                    <a:pt x="8723757" y="4762"/>
                  </a:lnTo>
                  <a:lnTo>
                    <a:pt x="8723757" y="9525"/>
                  </a:lnTo>
                  <a:close/>
                </a:path>
                <a:path w="8733790" h="3690620">
                  <a:moveTo>
                    <a:pt x="8723757" y="3685603"/>
                  </a:moveTo>
                  <a:lnTo>
                    <a:pt x="8723757" y="4762"/>
                  </a:lnTo>
                  <a:lnTo>
                    <a:pt x="8728519" y="9525"/>
                  </a:lnTo>
                  <a:lnTo>
                    <a:pt x="8733282" y="9525"/>
                  </a:lnTo>
                  <a:lnTo>
                    <a:pt x="8733282" y="3680841"/>
                  </a:lnTo>
                  <a:lnTo>
                    <a:pt x="8728519" y="3680841"/>
                  </a:lnTo>
                  <a:lnTo>
                    <a:pt x="8723757" y="3685603"/>
                  </a:lnTo>
                  <a:close/>
                </a:path>
                <a:path w="8733790" h="3690620">
                  <a:moveTo>
                    <a:pt x="8733282" y="9525"/>
                  </a:moveTo>
                  <a:lnTo>
                    <a:pt x="8728519" y="9525"/>
                  </a:lnTo>
                  <a:lnTo>
                    <a:pt x="8723757" y="4762"/>
                  </a:lnTo>
                  <a:lnTo>
                    <a:pt x="8733282" y="4762"/>
                  </a:lnTo>
                  <a:lnTo>
                    <a:pt x="8733282" y="9525"/>
                  </a:lnTo>
                  <a:close/>
                </a:path>
                <a:path w="8733790" h="3690620">
                  <a:moveTo>
                    <a:pt x="9525" y="3685603"/>
                  </a:moveTo>
                  <a:lnTo>
                    <a:pt x="4762" y="3680841"/>
                  </a:lnTo>
                  <a:lnTo>
                    <a:pt x="9525" y="3680841"/>
                  </a:lnTo>
                  <a:lnTo>
                    <a:pt x="9525" y="3685603"/>
                  </a:lnTo>
                  <a:close/>
                </a:path>
                <a:path w="8733790" h="3690620">
                  <a:moveTo>
                    <a:pt x="8723757" y="3685603"/>
                  </a:moveTo>
                  <a:lnTo>
                    <a:pt x="9525" y="3685603"/>
                  </a:lnTo>
                  <a:lnTo>
                    <a:pt x="9525" y="3680841"/>
                  </a:lnTo>
                  <a:lnTo>
                    <a:pt x="8723757" y="3680841"/>
                  </a:lnTo>
                  <a:lnTo>
                    <a:pt x="8723757" y="3685603"/>
                  </a:lnTo>
                  <a:close/>
                </a:path>
                <a:path w="8733790" h="3690620">
                  <a:moveTo>
                    <a:pt x="8733282" y="3685603"/>
                  </a:moveTo>
                  <a:lnTo>
                    <a:pt x="8723757" y="3685603"/>
                  </a:lnTo>
                  <a:lnTo>
                    <a:pt x="8728519" y="3680841"/>
                  </a:lnTo>
                  <a:lnTo>
                    <a:pt x="8733282" y="3680841"/>
                  </a:lnTo>
                  <a:lnTo>
                    <a:pt x="8733282" y="3685603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p/>
          </p:txBody>
        </p:sp>
      </p:grpSp>
      <p:sp>
        <p:nvSpPr>
          <p:cNvPr id="16" name="object 4"/>
          <p:cNvSpPr txBox="1"/>
          <p:nvPr/>
        </p:nvSpPr>
        <p:spPr>
          <a:xfrm>
            <a:off x="410210" y="5506085"/>
            <a:ext cx="2107565" cy="5664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Arial" panose="020B0604020202020204"/>
                <a:cs typeface="Arial" panose="020B0604020202020204"/>
              </a:rPr>
              <a:t>ЕГЭ. </a:t>
            </a:r>
            <a:r>
              <a:rPr sz="1800" spc="-70" dirty="0">
                <a:latin typeface="Arial" panose="020B0604020202020204"/>
                <a:cs typeface="Arial" panose="020B0604020202020204"/>
              </a:rPr>
              <a:t>11 </a:t>
            </a:r>
            <a:r>
              <a:rPr sz="1800" dirty="0">
                <a:latin typeface="Arial" panose="020B0604020202020204"/>
                <a:cs typeface="Arial" panose="020B0604020202020204"/>
              </a:rPr>
              <a:t>класс. </a:t>
            </a:r>
            <a:r>
              <a:rPr sz="1800" spc="-5" dirty="0">
                <a:latin typeface="Arial" panose="020B0604020202020204"/>
                <a:cs typeface="Arial" panose="020B0604020202020204"/>
              </a:rPr>
              <a:t>Химия.</a:t>
            </a:r>
            <a:r>
              <a:rPr sz="1800" spc="15" dirty="0">
                <a:latin typeface="Arial" panose="020B0604020202020204"/>
                <a:cs typeface="Arial" panose="020B0604020202020204"/>
              </a:rPr>
              <a:t> </a:t>
            </a:r>
            <a:r>
              <a:rPr sz="1800" spc="-5" dirty="0">
                <a:latin typeface="Arial" panose="020B0604020202020204"/>
                <a:cs typeface="Arial" panose="020B0604020202020204"/>
              </a:rPr>
              <a:t>Демо-2020</a:t>
            </a:r>
            <a:endParaRPr sz="1800">
              <a:latin typeface="Arial" panose="020B0604020202020204"/>
              <a:cs typeface="Arial" panose="020B0604020202020204"/>
            </a:endParaRPr>
          </a:p>
        </p:txBody>
      </p:sp>
      <p:sp>
        <p:nvSpPr>
          <p:cNvPr id="17" name="object 4"/>
          <p:cNvSpPr txBox="1"/>
          <p:nvPr/>
        </p:nvSpPr>
        <p:spPr>
          <a:xfrm>
            <a:off x="6414135" y="1946275"/>
            <a:ext cx="2107565" cy="5664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800" spc="-5" dirty="0">
                <a:latin typeface="Arial" panose="020B0604020202020204"/>
                <a:cs typeface="Arial" panose="020B0604020202020204"/>
              </a:rPr>
              <a:t>О</a:t>
            </a:r>
            <a:r>
              <a:rPr sz="1800" spc="-5" dirty="0">
                <a:latin typeface="Arial" panose="020B0604020202020204"/>
                <a:cs typeface="Arial" panose="020B0604020202020204"/>
              </a:rPr>
              <a:t>ГЭ. </a:t>
            </a:r>
            <a:r>
              <a:rPr lang="ru-RU" sz="1800" spc="-70" dirty="0">
                <a:latin typeface="Arial" panose="020B0604020202020204"/>
                <a:cs typeface="Arial" panose="020B0604020202020204"/>
              </a:rPr>
              <a:t>9</a:t>
            </a:r>
            <a:r>
              <a:rPr sz="1800" spc="-70" dirty="0">
                <a:latin typeface="Arial" panose="020B0604020202020204"/>
                <a:cs typeface="Arial" panose="020B0604020202020204"/>
              </a:rPr>
              <a:t> </a:t>
            </a:r>
            <a:r>
              <a:rPr sz="1800" dirty="0">
                <a:latin typeface="Arial" panose="020B0604020202020204"/>
                <a:cs typeface="Arial" panose="020B0604020202020204"/>
              </a:rPr>
              <a:t>класс. </a:t>
            </a:r>
            <a:r>
              <a:rPr sz="1800" spc="-5" dirty="0">
                <a:latin typeface="Arial" panose="020B0604020202020204"/>
                <a:cs typeface="Arial" panose="020B0604020202020204"/>
              </a:rPr>
              <a:t>Химия.</a:t>
            </a:r>
            <a:r>
              <a:rPr sz="1800" spc="15" dirty="0">
                <a:latin typeface="Arial" panose="020B0604020202020204"/>
                <a:cs typeface="Arial" panose="020B0604020202020204"/>
              </a:rPr>
              <a:t> </a:t>
            </a:r>
            <a:r>
              <a:rPr sz="1800" spc="-5" dirty="0">
                <a:latin typeface="Arial" panose="020B0604020202020204"/>
                <a:cs typeface="Arial" panose="020B0604020202020204"/>
              </a:rPr>
              <a:t>Демо-2020</a:t>
            </a:r>
            <a:endParaRPr sz="1800">
              <a:latin typeface="Arial" panose="020B0604020202020204"/>
              <a:cs typeface="Arial" panose="020B060402020202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ru-RU" altLang="en-US"/>
          </a:p>
        </p:txBody>
      </p:sp>
      <p:sp>
        <p:nvSpPr>
          <p:cNvPr id="8" name="Прямоугольник 7"/>
          <p:cNvSpPr/>
          <p:nvPr/>
        </p:nvSpPr>
        <p:spPr>
          <a:xfrm>
            <a:off x="2373217" y="157596"/>
            <a:ext cx="655272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бщероссийская оценка по </a:t>
            </a:r>
            <a:endParaRPr kumimoji="0" lang="ru-RU" sz="3200" b="1" i="0" u="none" strike="noStrike" kern="1200" cap="none" spc="-40" normalizeH="0" baseline="0" noProof="0" dirty="0" smtClean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одели </a:t>
            </a: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ISA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17554" y="1274490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72"/>
          <p:cNvSpPr txBox="1"/>
          <p:nvPr/>
        </p:nvSpPr>
        <p:spPr>
          <a:xfrm>
            <a:off x="369973" y="1295060"/>
            <a:ext cx="5423023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29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ценка качества образования на основе практики 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еждународных исследований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одзаголовок 2"/>
          <p:cNvSpPr txBox="1"/>
          <p:nvPr/>
        </p:nvSpPr>
        <p:spPr>
          <a:xfrm>
            <a:off x="301030" y="1819307"/>
            <a:ext cx="5499223" cy="276998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 каждом регионе — репрезентативная выборка, от 75 до 150    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     образовательных организаций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рок проведения: сентябрь—октябрь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Школьники в возрасте от 15 лет и 3 месяцев до 16 лет и 2 месяцев</a:t>
            </a:r>
            <a:endParaRPr kumimoji="0" 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    (с 7-ого класса)</a:t>
            </a:r>
            <a:endParaRPr kumimoji="0" 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ценка проводится на компьютерах</a:t>
            </a:r>
            <a:endParaRPr kumimoji="0" 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 процессе проведения в аудитории присутствует не менее 2 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рганизаторов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62335" y="4624732"/>
            <a:ext cx="4868154" cy="39959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Как формируются группы субъектов: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одзаголовок 2"/>
          <p:cNvSpPr txBox="1"/>
          <p:nvPr/>
        </p:nvSpPr>
        <p:spPr>
          <a:xfrm>
            <a:off x="236478" y="5088732"/>
            <a:ext cx="5319868" cy="113877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хожие размеры групп по количеству обучающихся.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едставительство всех федеральных округов.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едставительство «сельских» и «городских» регионов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283968" y="6585029"/>
            <a:ext cx="488497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 материалам ФЕДЕРАЛЬНОЙ СЛУЖБЫ ПО НАДЗОРУ В СФЕРЕ ОБРАЗОВАНИЯ И НАУКИ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3" name="Picture 8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9262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5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" name="Замещающее содержимое 3"/>
          <p:cNvPicPr>
            <a:picLocks noChangeAspect="1"/>
          </p:cNvPicPr>
          <p:nvPr>
            <p:ph idx="1"/>
          </p:nvPr>
        </p:nvPicPr>
        <p:blipFill>
          <a:blip r:embed="rId4"/>
          <a:srcRect l="46226" t="23450" r="43692" b="21693"/>
          <a:stretch>
            <a:fillRect/>
          </a:stretch>
        </p:blipFill>
        <p:spPr>
          <a:xfrm>
            <a:off x="6717030" y="1416050"/>
            <a:ext cx="1634490" cy="500253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/>
          <p:cNvSpPr txBox="1"/>
          <p:nvPr/>
        </p:nvSpPr>
        <p:spPr>
          <a:xfrm>
            <a:off x="2228850" y="127000"/>
            <a:ext cx="558292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Структура измерительных материалов </a:t>
            </a:r>
            <a:r>
              <a:rPr kumimoji="0" lang="en-US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ea typeface="Open Sans" panose="020B0606030504020204" pitchFamily="34" charset="0"/>
                <a:cs typeface="Arial" panose="020B0604020202020204" pitchFamily="34" charset="0"/>
              </a:rPr>
              <a:t>PISA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17554" y="1274490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5" name="Диаграмма 54"/>
          <p:cNvGraphicFramePr/>
          <p:nvPr/>
        </p:nvGraphicFramePr>
        <p:xfrm>
          <a:off x="1196490" y="1400044"/>
          <a:ext cx="6151142" cy="5433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48" name="Прямоугольник 47"/>
          <p:cNvSpPr/>
          <p:nvPr/>
        </p:nvSpPr>
        <p:spPr>
          <a:xfrm>
            <a:off x="2393467" y="2146576"/>
            <a:ext cx="205754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реативное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ышление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зрешение 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блем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лобальные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ции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396204" y="2713521"/>
            <a:ext cx="1208504" cy="95410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9, 2018, 2027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4" name="Стрелка: пятиугольник 27"/>
          <p:cNvSpPr/>
          <p:nvPr/>
        </p:nvSpPr>
        <p:spPr>
          <a:xfrm>
            <a:off x="673012" y="1770009"/>
            <a:ext cx="2332956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1 г.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3" name="Стрелка: пятиугольник 27"/>
          <p:cNvSpPr/>
          <p:nvPr/>
        </p:nvSpPr>
        <p:spPr>
          <a:xfrm>
            <a:off x="578921" y="4388947"/>
            <a:ext cx="2084064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4 г.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аствуют сегодняшние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ятиклассник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9" name="Стрелка: пятиугольник 27"/>
          <p:cNvSpPr/>
          <p:nvPr/>
        </p:nvSpPr>
        <p:spPr>
          <a:xfrm flipH="1">
            <a:off x="5998687" y="3939779"/>
            <a:ext cx="2501658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2021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 Участвуют сегодняшние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осьмиклассник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2228885" y="4075194"/>
            <a:ext cx="203876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–научная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6, 2015, 2024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680540" y="4042203"/>
            <a:ext cx="1348099" cy="95410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3, 2012, 2021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68653" y="5370885"/>
            <a:ext cx="15083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инансовая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9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6" y="0"/>
            <a:ext cx="2093913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150"/>
            <a:ext cx="9144000" cy="6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775" y="6481763"/>
            <a:ext cx="28956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8Ksfz2C1qJMSUX3vhOgGvg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Тема Office">
      <a:majorFont>
        <a:latin typeface="Arial"/>
        <a:ea typeface=""/>
        <a:cs typeface="Arial"/>
      </a:majorFont>
      <a:minorFont>
        <a:latin typeface="Calibri"/>
        <a:ea typeface="Calibri"/>
        <a:cs typeface="Calibri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6" charset="0"/>
          <a:buNone/>
          <a:defRPr kumimoji="0" lang="en-GB" altLang="ru-RU" sz="1800" b="0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6" charset="0"/>
          <a:buNone/>
          <a:defRPr kumimoji="0" lang="en-GB" altLang="ru-RU" sz="1800" b="0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Тема Office">
      <a:majorFont>
        <a:latin typeface="Arial"/>
        <a:ea typeface=""/>
        <a:cs typeface="Arial"/>
      </a:majorFont>
      <a:minorFont>
        <a:latin typeface="Calibri"/>
        <a:ea typeface="Calibri"/>
        <a:cs typeface="Calibri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6" charset="0"/>
          <a:buNone/>
          <a:defRPr kumimoji="0" lang="en-GB" altLang="ru-RU" sz="1800" b="0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6" charset="0"/>
          <a:buNone/>
          <a:defRPr kumimoji="0" lang="en-GB" altLang="ru-RU" sz="1800" b="0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Тема Office">
  <a:themeElements>
    <a:clrScheme name="Тема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Тема Office">
      <a:majorFont>
        <a:latin typeface="Arial"/>
        <a:ea typeface=""/>
        <a:cs typeface="Arial"/>
      </a:majorFont>
      <a:minorFont>
        <a:latin typeface="Calibri"/>
        <a:ea typeface="Calibri"/>
        <a:cs typeface="Calibri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6" charset="0"/>
          <a:buNone/>
          <a:defRPr kumimoji="0" lang="en-GB" altLang="ru-RU" sz="1800" b="0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6" charset="0"/>
          <a:buNone/>
          <a:defRPr kumimoji="0" lang="en-GB" altLang="ru-RU" sz="1800" b="0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868</Words>
  <Application>WPS Presentation</Application>
  <PresentationFormat>Экран (4:3)</PresentationFormat>
  <Paragraphs>407</Paragraphs>
  <Slides>33</Slides>
  <Notes>43</Notes>
  <HiddenSlides>0</HiddenSlides>
  <MMClips>0</MMClips>
  <ScaleCrop>false</ScaleCrop>
  <HeadingPairs>
    <vt:vector size="8" baseType="variant">
      <vt:variant>
        <vt:lpstr>已用的字体</vt:lpstr>
      </vt:variant>
      <vt:variant>
        <vt:i4>23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33</vt:i4>
      </vt:variant>
    </vt:vector>
  </HeadingPairs>
  <TitlesOfParts>
    <vt:vector size="62" baseType="lpstr">
      <vt:lpstr>Arial</vt:lpstr>
      <vt:lpstr>SimSun</vt:lpstr>
      <vt:lpstr>Wingdings</vt:lpstr>
      <vt:lpstr>Times New Roman</vt:lpstr>
      <vt:lpstr>Calibri</vt:lpstr>
      <vt:lpstr>DejaVu Sans</vt:lpstr>
      <vt:lpstr>Open Sans Light</vt:lpstr>
      <vt:lpstr>Yu Gothic UI Light</vt:lpstr>
      <vt:lpstr>Malgun Gothic Semilight</vt:lpstr>
      <vt:lpstr>Arial</vt:lpstr>
      <vt:lpstr>Open Sans</vt:lpstr>
      <vt:lpstr>Segoe Print</vt:lpstr>
      <vt:lpstr>Calibri</vt:lpstr>
      <vt:lpstr>Microsoft YaHei</vt:lpstr>
      <vt:lpstr/>
      <vt:lpstr>Arial Unicode MS</vt:lpstr>
      <vt:lpstr>Impact</vt:lpstr>
      <vt:lpstr>Wingdings</vt:lpstr>
      <vt:lpstr>Impact</vt:lpstr>
      <vt:lpstr>WenQuanYi Micro Hei</vt:lpstr>
      <vt:lpstr>Helvetica Neue Black Condensed</vt:lpstr>
      <vt:lpstr>Arial Narrow</vt:lpstr>
      <vt:lpstr>Arial Black</vt:lpstr>
      <vt:lpstr>Тема Office</vt:lpstr>
      <vt:lpstr>1_Тема Office</vt:lpstr>
      <vt:lpstr>3_Тема Office</vt:lpstr>
      <vt:lpstr>TCLayout.ActiveDocument.1</vt:lpstr>
      <vt:lpstr>TCLayout.ActiveDocument.1</vt:lpstr>
      <vt:lpstr>TCLayout.ActiveDocument.1</vt:lpstr>
      <vt:lpstr>ГРУППА КОМПАНИЙ «ПРОСВЕЩЕНИЕ»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Линии УМК в составе  Федерального перечня учебников</vt:lpstr>
      <vt:lpstr>Серия «Задачник»</vt:lpstr>
      <vt:lpstr>Ресурсы УМК и учебных пособий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дрисов Руслан Ринатович</dc:creator>
  <cp:lastModifiedBy>ogple</cp:lastModifiedBy>
  <cp:revision>498</cp:revision>
  <cp:lastPrinted>2113-01-01T00:00:00Z</cp:lastPrinted>
  <dcterms:created xsi:type="dcterms:W3CDTF">2020-02-10T18:11:00Z</dcterms:created>
  <dcterms:modified xsi:type="dcterms:W3CDTF">2020-05-12T06:1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4.0000</vt:lpwstr>
  </property>
  <property fmtid="{D5CDD505-2E9C-101B-9397-08002B2CF9AE}" pid="3" name="HiddenSlides">
    <vt:r8>0</vt:r8>
  </property>
  <property fmtid="{D5CDD505-2E9C-101B-9397-08002B2CF9AE}" pid="4" name="HyperlinksChanged">
    <vt:bool>false</vt:bool>
  </property>
  <property fmtid="{D5CDD505-2E9C-101B-9397-08002B2CF9AE}" pid="5" name="KSOProductBuildVer">
    <vt:lpwstr>1049-11.2.0.9327</vt:lpwstr>
  </property>
  <property fmtid="{D5CDD505-2E9C-101B-9397-08002B2CF9AE}" pid="6" name="LinksUpToDate">
    <vt:bool>false</vt:bool>
  </property>
  <property fmtid="{D5CDD505-2E9C-101B-9397-08002B2CF9AE}" pid="7" name="MMClips">
    <vt:r8>0</vt:r8>
  </property>
  <property fmtid="{D5CDD505-2E9C-101B-9397-08002B2CF9AE}" pid="8" name="Notes">
    <vt:r8>47</vt:r8>
  </property>
  <property fmtid="{D5CDD505-2E9C-101B-9397-08002B2CF9AE}" pid="9" name="PresentationFormat">
    <vt:lpwstr>Экран (4:3)</vt:lpwstr>
  </property>
  <property fmtid="{D5CDD505-2E9C-101B-9397-08002B2CF9AE}" pid="10" name="ScaleCrop">
    <vt:bool>false</vt:bool>
  </property>
  <property fmtid="{D5CDD505-2E9C-101B-9397-08002B2CF9AE}" pid="11" name="ShareDoc">
    <vt:bool>false</vt:bool>
  </property>
  <property fmtid="{D5CDD505-2E9C-101B-9397-08002B2CF9AE}" pid="12" name="Slides">
    <vt:r8>42</vt:r8>
  </property>
</Properties>
</file>